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7" r:id="rId6"/>
  </p:sldMasterIdLst>
  <p:notesMasterIdLst>
    <p:notesMasterId r:id="rId8"/>
  </p:notesMasterIdLst>
  <p:sldIdLst>
    <p:sldId id="435"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727272"/>
    <a:srgbClr val="808080"/>
    <a:srgbClr val="8F8F8F"/>
    <a:srgbClr val="5E5E5E"/>
    <a:srgbClr val="000000"/>
    <a:srgbClr val="E4E4E4"/>
    <a:srgbClr val="9D9D9D"/>
    <a:srgbClr val="FDFDFD"/>
    <a:srgbClr val="A878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59" autoAdjust="0"/>
    <p:restoredTop sz="92208" autoAdjust="0"/>
  </p:normalViewPr>
  <p:slideViewPr>
    <p:cSldViewPr snapToGrid="0">
      <p:cViewPr varScale="1">
        <p:scale>
          <a:sx n="88" d="100"/>
          <a:sy n="88" d="100"/>
        </p:scale>
        <p:origin x="64" y="104"/>
      </p:cViewPr>
      <p:guideLst>
        <p:guide orient="horz" pos="2160"/>
        <p:guide pos="3840"/>
      </p:guideLst>
    </p:cSldViewPr>
  </p:slideViewPr>
  <p:notesTextViewPr>
    <p:cViewPr>
      <p:scale>
        <a:sx n="125" d="100"/>
        <a:sy n="125" d="100"/>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theme" Target="theme/theme1.xml"/><Relationship Id="rId5" Type="http://schemas.openxmlformats.org/officeDocument/2006/relationships/customXml" Target="../customXml/item5.xml"/><Relationship Id="rId1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22D2DA-578F-4772-9649-ED3A67CD7D71}" type="datetimeFigureOut">
              <a:rPr lang="en-US" smtClean="0"/>
              <a:t>8/1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249FCD-A9FA-4E9D-BD20-371DA895C422}" type="slidenum">
              <a:rPr lang="en-US" smtClean="0"/>
              <a:t>‹#›</a:t>
            </a:fld>
            <a:endParaRPr lang="en-US"/>
          </a:p>
        </p:txBody>
      </p:sp>
    </p:spTree>
    <p:extLst>
      <p:ext uri="{BB962C8B-B14F-4D97-AF65-F5344CB8AC3E}">
        <p14:creationId xmlns:p14="http://schemas.microsoft.com/office/powerpoint/2010/main" val="2911125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598619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86746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92076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7663208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263249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2834159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739203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807049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647913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64282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51580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23569866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231"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7232160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83" r:id="rId12"/>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3.emf"/><Relationship Id="rId3" Type="http://schemas.microsoft.com/office/2007/relationships/hdphoto" Target="../media/hdphoto1.wdp"/><Relationship Id="rId7" Type="http://schemas.microsoft.com/office/2007/relationships/hdphoto" Target="../media/hdphoto3.wdp"/><Relationship Id="rId12" Type="http://schemas.microsoft.com/office/2007/relationships/hdphoto" Target="../media/hdphoto5.wdp"/><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9.png"/><Relationship Id="rId11" Type="http://schemas.openxmlformats.org/officeDocument/2006/relationships/image" Target="../media/image12.png"/><Relationship Id="rId5" Type="http://schemas.microsoft.com/office/2007/relationships/hdphoto" Target="../media/hdphoto2.wdp"/><Relationship Id="rId10" Type="http://schemas.openxmlformats.org/officeDocument/2006/relationships/image" Target="../media/image11.emf"/><Relationship Id="rId4" Type="http://schemas.openxmlformats.org/officeDocument/2006/relationships/image" Target="../media/image8.png"/><Relationship Id="rId9" Type="http://schemas.microsoft.com/office/2007/relationships/hdphoto" Target="../media/hdphoto4.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a:xfrm>
            <a:off x="11215052" y="6470617"/>
            <a:ext cx="761998" cy="380126"/>
          </a:xfrm>
        </p:spPr>
        <p:txBody>
          <a:bodyPr/>
          <a:lstStyle/>
          <a:p>
            <a:pPr defTabSz="1088105"/>
            <a:fld id="{FAADACFB-7C71-4E89-89D2-7BBA40B7BFA9}" type="slidenum">
              <a:rPr lang="en-US" smtClean="0">
                <a:solidFill>
                  <a:srgbClr val="505050"/>
                </a:solidFill>
              </a:rPr>
              <a:pPr defTabSz="1088105"/>
              <a:t>1</a:t>
            </a:fld>
            <a:endParaRPr lang="en-US" dirty="0">
              <a:solidFill>
                <a:srgbClr val="505050"/>
              </a:solidFill>
            </a:endParaRPr>
          </a:p>
        </p:txBody>
      </p:sp>
      <p:sp>
        <p:nvSpPr>
          <p:cNvPr id="5" name="Title 1"/>
          <p:cNvSpPr>
            <a:spLocks noGrp="1"/>
          </p:cNvSpPr>
          <p:nvPr>
            <p:ph type="title"/>
          </p:nvPr>
        </p:nvSpPr>
        <p:spPr>
          <a:xfrm>
            <a:off x="1" y="2"/>
            <a:ext cx="12192000" cy="646042"/>
          </a:xfrm>
        </p:spPr>
        <p:txBody>
          <a:bodyPr/>
          <a:lstStyle/>
          <a:p>
            <a:r>
              <a:rPr lang="en-US" dirty="0"/>
              <a:t>Azure </a:t>
            </a:r>
            <a:r>
              <a:rPr lang="en-US" dirty="0" err="1"/>
              <a:t>HiPo</a:t>
            </a:r>
            <a:r>
              <a:rPr lang="en-US" dirty="0"/>
              <a:t> Solution Blueprints</a:t>
            </a:r>
          </a:p>
        </p:txBody>
      </p:sp>
      <p:sp>
        <p:nvSpPr>
          <p:cNvPr id="6" name="Text Placeholder 97"/>
          <p:cNvSpPr>
            <a:spLocks noGrp="1"/>
          </p:cNvSpPr>
          <p:nvPr>
            <p:ph type="body" sz="quarter" idx="13"/>
          </p:nvPr>
        </p:nvSpPr>
        <p:spPr>
          <a:xfrm>
            <a:off x="1" y="573605"/>
            <a:ext cx="12192000" cy="487798"/>
          </a:xfrm>
        </p:spPr>
        <p:txBody>
          <a:bodyPr/>
          <a:lstStyle/>
          <a:p>
            <a:r>
              <a:rPr lang="en-US" dirty="0"/>
              <a:t>Building a Repeatable Process for Driving Azure Solutions</a:t>
            </a:r>
          </a:p>
        </p:txBody>
      </p:sp>
      <p:sp>
        <p:nvSpPr>
          <p:cNvPr id="7" name="Rectangle 6"/>
          <p:cNvSpPr/>
          <p:nvPr/>
        </p:nvSpPr>
        <p:spPr>
          <a:xfrm>
            <a:off x="303212" y="1360715"/>
            <a:ext cx="11582400" cy="27699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dirty="0">
                <a:solidFill>
                  <a:schemeClr val="bg1"/>
                </a:solidFill>
                <a:latin typeface="Segoe UI Semibold" panose="020B0702040204020203" pitchFamily="34" charset="0"/>
                <a:cs typeface="Segoe UI Semibold" panose="020B0702040204020203" pitchFamily="34" charset="0"/>
              </a:rPr>
              <a:t>Engage Customers at the Business Decision-Maker Level with Solutions that Deliver Measurable Business Benefits</a:t>
            </a:r>
          </a:p>
        </p:txBody>
      </p:sp>
      <p:sp>
        <p:nvSpPr>
          <p:cNvPr id="8" name="Text Box 4"/>
          <p:cNvSpPr txBox="1">
            <a:spLocks noChangeArrowheads="1"/>
          </p:cNvSpPr>
          <p:nvPr/>
        </p:nvSpPr>
        <p:spPr bwMode="gray">
          <a:xfrm>
            <a:off x="3391166" y="3730178"/>
            <a:ext cx="5397016" cy="2551227"/>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dirty="0">
                <a:ln>
                  <a:noFill/>
                </a:ln>
                <a:solidFill>
                  <a:schemeClr val="tx1"/>
                </a:solidFill>
                <a:latin typeface="Segoe UI Semibold" panose="020B0702040204020203" pitchFamily="34" charset="0"/>
                <a:cs typeface="Segoe UI Semibold" panose="020B0702040204020203" pitchFamily="34" charset="0"/>
              </a:rPr>
              <a:t>Utilize previous project assets and processes to develop custom POC</a:t>
            </a:r>
          </a:p>
        </p:txBody>
      </p:sp>
      <p:sp>
        <p:nvSpPr>
          <p:cNvPr id="9" name="Text Box 4"/>
          <p:cNvSpPr txBox="1">
            <a:spLocks noChangeArrowheads="1"/>
          </p:cNvSpPr>
          <p:nvPr/>
        </p:nvSpPr>
        <p:spPr bwMode="gray">
          <a:xfrm>
            <a:off x="303212" y="3730178"/>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dirty="0">
                <a:ln>
                  <a:noFill/>
                </a:ln>
                <a:solidFill>
                  <a:schemeClr val="tx1"/>
                </a:solidFill>
                <a:latin typeface="Segoe UI Semibold" panose="020B0702040204020203" pitchFamily="34" charset="0"/>
                <a:cs typeface="Segoe UI Semibold" panose="020B0702040204020203" pitchFamily="34" charset="0"/>
              </a:rPr>
              <a:t>Gather Customer Sample Data</a:t>
            </a:r>
          </a:p>
        </p:txBody>
      </p:sp>
      <p:sp>
        <p:nvSpPr>
          <p:cNvPr id="10" name="Text Box 4"/>
          <p:cNvSpPr txBox="1">
            <a:spLocks noChangeArrowheads="1"/>
          </p:cNvSpPr>
          <p:nvPr/>
        </p:nvSpPr>
        <p:spPr bwMode="gray">
          <a:xfrm>
            <a:off x="9023540" y="3730178"/>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dirty="0">
                <a:ln>
                  <a:noFill/>
                </a:ln>
                <a:solidFill>
                  <a:schemeClr val="tx1"/>
                </a:solidFill>
                <a:latin typeface="Segoe UI Semibold" panose="020B0702040204020203" pitchFamily="34" charset="0"/>
                <a:cs typeface="Segoe UI Semibold" panose="020B0702040204020203" pitchFamily="34" charset="0"/>
              </a:rPr>
              <a:t>Deliver POC Using Customer Data and Project Plan outlines for Implementation</a:t>
            </a:r>
          </a:p>
        </p:txBody>
      </p:sp>
      <p:sp>
        <p:nvSpPr>
          <p:cNvPr id="11" name="Isosceles Triangle 10"/>
          <p:cNvSpPr/>
          <p:nvPr/>
        </p:nvSpPr>
        <p:spPr>
          <a:xfrm rot="5400000">
            <a:off x="3078217" y="4927678"/>
            <a:ext cx="396749" cy="156227"/>
          </a:xfrm>
          <a:prstGeom prst="triangle">
            <a:avLst/>
          </a:prstGeom>
          <a:solidFill>
            <a:schemeClr val="accent5"/>
          </a:solidFill>
        </p:spPr>
        <p:txBody>
          <a:bodyPr vert="horz" lIns="137160" tIns="91440" rIns="91440" bIns="91440" rtlCol="0" anchor="t" anchorCtr="0">
            <a:noAutofit/>
          </a:bodyPr>
          <a:lstStyle/>
          <a:p>
            <a:pPr algn="ctr" defTabSz="914241"/>
            <a:endParaRPr lang="en-US" sz="900" dirty="0">
              <a:cs typeface="Segoe UI Light"/>
            </a:endParaRPr>
          </a:p>
        </p:txBody>
      </p:sp>
      <p:sp>
        <p:nvSpPr>
          <p:cNvPr id="12" name="Isosceles Triangle 11"/>
          <p:cNvSpPr/>
          <p:nvPr/>
        </p:nvSpPr>
        <p:spPr>
          <a:xfrm rot="5400000">
            <a:off x="8707486" y="4927678"/>
            <a:ext cx="396749" cy="156227"/>
          </a:xfrm>
          <a:prstGeom prst="triangle">
            <a:avLst/>
          </a:prstGeom>
          <a:solidFill>
            <a:schemeClr val="accent5"/>
          </a:solidFill>
        </p:spPr>
        <p:txBody>
          <a:bodyPr vert="horz" lIns="137160" tIns="91440" rIns="91440" bIns="91440" rtlCol="0" anchor="t" anchorCtr="0">
            <a:noAutofit/>
          </a:bodyPr>
          <a:lstStyle/>
          <a:p>
            <a:pPr algn="ctr" defTabSz="914241"/>
            <a:endParaRPr lang="en-US" sz="900" dirty="0">
              <a:cs typeface="Segoe UI Light"/>
            </a:endParaRPr>
          </a:p>
        </p:txBody>
      </p:sp>
      <p:sp>
        <p:nvSpPr>
          <p:cNvPr id="13" name="TextBox 12"/>
          <p:cNvSpPr txBox="1"/>
          <p:nvPr/>
        </p:nvSpPr>
        <p:spPr>
          <a:xfrm>
            <a:off x="9125327" y="5014049"/>
            <a:ext cx="2703815" cy="153888"/>
          </a:xfrm>
          <a:prstGeom prst="rect">
            <a:avLst/>
          </a:prstGeom>
        </p:spPr>
        <p:txBody>
          <a:bodyPr vert="horz" wrap="square" lIns="0" tIns="0" rIns="0" bIns="0" rtlCol="0" anchor="t">
            <a:spAutoFit/>
          </a:bodyPr>
          <a:lstStyle/>
          <a:p>
            <a:pPr defTabSz="1088105"/>
            <a:r>
              <a:rPr lang="en-US" sz="1000" dirty="0">
                <a:latin typeface="Segoe UI Semibold" panose="020B0702040204020203" pitchFamily="34" charset="0"/>
                <a:ea typeface="Segoe UI" pitchFamily="34" charset="0"/>
                <a:cs typeface="Segoe UI Semibold" panose="020B0702040204020203" pitchFamily="34" charset="0"/>
              </a:rPr>
              <a:t>Capture ROI from each project</a:t>
            </a:r>
          </a:p>
        </p:txBody>
      </p:sp>
      <p:sp>
        <p:nvSpPr>
          <p:cNvPr id="15" name="TextBox 14"/>
          <p:cNvSpPr txBox="1"/>
          <p:nvPr/>
        </p:nvSpPr>
        <p:spPr>
          <a:xfrm>
            <a:off x="9121755" y="5879538"/>
            <a:ext cx="2707388" cy="307777"/>
          </a:xfrm>
          <a:prstGeom prst="rect">
            <a:avLst/>
          </a:prstGeom>
        </p:spPr>
        <p:txBody>
          <a:bodyPr vert="horz" wrap="square" lIns="0" tIns="0" rIns="0" bIns="0" rtlCol="0" anchor="t">
            <a:spAutoFit/>
          </a:bodyPr>
          <a:lstStyle/>
          <a:p>
            <a:pPr defTabSz="1088105"/>
            <a:r>
              <a:rPr lang="en-US" sz="1000" dirty="0">
                <a:latin typeface="Segoe UI Semibold" panose="020B0702040204020203" pitchFamily="34" charset="0"/>
                <a:ea typeface="Segoe UI" pitchFamily="34" charset="0"/>
                <a:cs typeface="Segoe UI Semibold" panose="020B0702040204020203" pitchFamily="34" charset="0"/>
              </a:rPr>
              <a:t>Engage partners and utilize best-practice project plans</a:t>
            </a:r>
          </a:p>
        </p:txBody>
      </p:sp>
      <p:sp>
        <p:nvSpPr>
          <p:cNvPr id="17" name="Oval 16"/>
          <p:cNvSpPr/>
          <p:nvPr/>
        </p:nvSpPr>
        <p:spPr>
          <a:xfrm>
            <a:off x="3919758" y="4071846"/>
            <a:ext cx="2711084" cy="217528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a:solidFill>
                <a:schemeClr val="tx1"/>
              </a:solidFill>
            </a:endParaRPr>
          </a:p>
        </p:txBody>
      </p:sp>
      <p:sp>
        <p:nvSpPr>
          <p:cNvPr id="21" name="Rectangle 20"/>
          <p:cNvSpPr/>
          <p:nvPr/>
        </p:nvSpPr>
        <p:spPr>
          <a:xfrm>
            <a:off x="4297356" y="5123092"/>
            <a:ext cx="2081673" cy="307777"/>
          </a:xfrm>
          <a:prstGeom prst="rect">
            <a:avLst/>
          </a:prstGeom>
          <a:noFill/>
          <a:ln w="6350" cap="flat" cmpd="sng" algn="ctr">
            <a:noFill/>
            <a:prstDash val="solid"/>
          </a:ln>
          <a:effectLst/>
        </p:spPr>
        <p:txBody>
          <a:bodyPr wrap="square" lIns="0" tIns="0" rIns="0" bIns="0" rtlCol="0" anchor="ctr">
            <a:spAutoFit/>
          </a:bodyPr>
          <a:lstStyle/>
          <a:p>
            <a:pPr marL="0" lvl="1" algn="ctr" defTabSz="1218106" fontAlgn="base">
              <a:spcBef>
                <a:spcPts val="200"/>
              </a:spcBef>
              <a:buClr>
                <a:srgbClr val="FFFF99"/>
              </a:buClr>
              <a:buSzPct val="90000"/>
              <a:defRPr/>
            </a:pPr>
            <a:r>
              <a:rPr lang="en-US" sz="1000" dirty="0">
                <a:latin typeface="Segoe UI Semibold" panose="020B0702040204020203" pitchFamily="34" charset="0"/>
                <a:ea typeface="Segoe UI" pitchFamily="34" charset="0"/>
                <a:cs typeface="Segoe UI" pitchFamily="34" charset="0"/>
              </a:rPr>
              <a:t>Work closely w/Customer on data normalization </a:t>
            </a:r>
          </a:p>
        </p:txBody>
      </p:sp>
      <p:grpSp>
        <p:nvGrpSpPr>
          <p:cNvPr id="22" name="Group 21"/>
          <p:cNvGrpSpPr/>
          <p:nvPr/>
        </p:nvGrpSpPr>
        <p:grpSpPr>
          <a:xfrm>
            <a:off x="4954590" y="4242871"/>
            <a:ext cx="721744" cy="723414"/>
            <a:chOff x="6147370" y="2193906"/>
            <a:chExt cx="826515" cy="828428"/>
          </a:xfrm>
        </p:grpSpPr>
        <p:sp>
          <p:nvSpPr>
            <p:cNvPr id="23" name="Freeform 128"/>
            <p:cNvSpPr>
              <a:spLocks noChangeAspect="1"/>
            </p:cNvSpPr>
            <p:nvPr/>
          </p:nvSpPr>
          <p:spPr bwMode="auto">
            <a:xfrm>
              <a:off x="6147370" y="2193906"/>
              <a:ext cx="826515" cy="828428"/>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1800" dirty="0">
                <a:latin typeface="Arial" charset="0"/>
              </a:endParaRPr>
            </a:p>
          </p:txBody>
        </p:sp>
        <p:sp>
          <p:nvSpPr>
            <p:cNvPr id="24" name="Trapezoid 3"/>
            <p:cNvSpPr/>
            <p:nvPr/>
          </p:nvSpPr>
          <p:spPr>
            <a:xfrm>
              <a:off x="6488572" y="2382918"/>
              <a:ext cx="241628" cy="448095"/>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solidFill>
                  <a:schemeClr val="tx1"/>
                </a:solidFill>
              </a:endParaRPr>
            </a:p>
          </p:txBody>
        </p:sp>
      </p:grpSp>
      <p:pic>
        <p:nvPicPr>
          <p:cNvPr id="25" name="Picture 33" descr="C:\Users\sakuu\Documents\Ballmer WPC\AI\Home.png"/>
          <p:cNvPicPr>
            <a:picLocks noChangeAspect="1" noChangeArrowheads="1"/>
          </p:cNvPicPr>
          <p:nvPr/>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5627892" y="4173471"/>
            <a:ext cx="245457" cy="213122"/>
          </a:xfrm>
          <a:prstGeom prst="rect">
            <a:avLst/>
          </a:prstGeom>
          <a:noFill/>
          <a:extLst/>
        </p:spPr>
      </p:pic>
      <p:sp>
        <p:nvSpPr>
          <p:cNvPr id="26" name="Freeform 5"/>
          <p:cNvSpPr>
            <a:spLocks noChangeAspect="1"/>
          </p:cNvSpPr>
          <p:nvPr/>
        </p:nvSpPr>
        <p:spPr bwMode="auto">
          <a:xfrm flipH="1">
            <a:off x="4581615" y="4482886"/>
            <a:ext cx="293353" cy="193903"/>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defTabSz="914400"/>
            <a:endParaRPr lang="en-US" sz="1800" dirty="0"/>
          </a:p>
        </p:txBody>
      </p:sp>
      <p:pic>
        <p:nvPicPr>
          <p:cNvPr id="27" name="Picture 2" descr="\\MAGNUM\Projects\Microsoft\Cloud Power FY12\Design\ICONS_PNG\Pie.png"/>
          <p:cNvPicPr>
            <a:picLocks noChangeAspect="1" noChangeArrowheads="1"/>
          </p:cNvPicPr>
          <p:nvPr/>
        </p:nvPicPr>
        <p:blipFill>
          <a:blip r:embed="rId4" cstate="print">
            <a:duotone>
              <a:schemeClr val="accent5">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741924" y="4120183"/>
            <a:ext cx="325948" cy="331131"/>
          </a:xfrm>
          <a:prstGeom prst="rect">
            <a:avLst/>
          </a:prstGeom>
          <a:noFill/>
        </p:spPr>
      </p:pic>
      <p:pic>
        <p:nvPicPr>
          <p:cNvPr id="28" name="Picture 2" descr="\\MAGNUM\Projects\Microsoft\Cloud Power FY12\Design\ICONS_PNG\Devices.png"/>
          <p:cNvPicPr>
            <a:picLocks noChangeAspect="1" noChangeArrowheads="1"/>
          </p:cNvPicPr>
          <p:nvPr/>
        </p:nvPicPr>
        <p:blipFill>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5567196" y="4832879"/>
            <a:ext cx="293353" cy="298018"/>
          </a:xfrm>
          <a:prstGeom prst="rect">
            <a:avLst/>
          </a:prstGeom>
          <a:noFill/>
          <a:ln>
            <a:noFill/>
          </a:ln>
        </p:spPr>
      </p:pic>
      <p:sp>
        <p:nvSpPr>
          <p:cNvPr id="29" name="Freeform 18"/>
          <p:cNvSpPr>
            <a:spLocks noChangeAspect="1" noEditPoints="1"/>
          </p:cNvSpPr>
          <p:nvPr/>
        </p:nvSpPr>
        <p:spPr bwMode="black">
          <a:xfrm>
            <a:off x="4728264" y="4786821"/>
            <a:ext cx="213737" cy="264905"/>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pic>
        <p:nvPicPr>
          <p:cNvPr id="30" name="Picture 3" descr="\\MAGNUM\Projects\Microsoft\Cloud Power FY12\Design\Icons\PNGs\Scalable_Elastic_4.png"/>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747049" y="4450306"/>
            <a:ext cx="322518" cy="327646"/>
          </a:xfrm>
          <a:prstGeom prst="rect">
            <a:avLst/>
          </a:prstGeom>
          <a:noFill/>
        </p:spPr>
      </p:pic>
      <p:sp>
        <p:nvSpPr>
          <p:cNvPr id="31" name="TextBox 30"/>
          <p:cNvSpPr txBox="1"/>
          <p:nvPr/>
        </p:nvSpPr>
        <p:spPr>
          <a:xfrm>
            <a:off x="4500340" y="5764857"/>
            <a:ext cx="1630254"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Customize solution for each</a:t>
            </a:r>
          </a:p>
          <a:p>
            <a:pPr algn="ctr" defTabSz="1088105"/>
            <a:r>
              <a:rPr lang="en-US" sz="1000" dirty="0">
                <a:latin typeface="Segoe UI Semibold" panose="020B0702040204020203" pitchFamily="34" charset="0"/>
                <a:ea typeface="Segoe UI" pitchFamily="34" charset="0"/>
                <a:cs typeface="Segoe UI Semibold" panose="020B0702040204020203" pitchFamily="34" charset="0"/>
              </a:rPr>
              <a:t>Customer</a:t>
            </a:r>
          </a:p>
        </p:txBody>
      </p:sp>
      <p:sp>
        <p:nvSpPr>
          <p:cNvPr id="35" name="Rounded Rectangle 24"/>
          <p:cNvSpPr>
            <a:spLocks noChangeAspect="1"/>
          </p:cNvSpPr>
          <p:nvPr/>
        </p:nvSpPr>
        <p:spPr>
          <a:xfrm>
            <a:off x="5181645" y="5487820"/>
            <a:ext cx="273080" cy="268020"/>
          </a:xfrm>
          <a:custGeom>
            <a:avLst/>
            <a:gdLst/>
            <a:ahLst/>
            <a:cxnLst/>
            <a:rect l="l" t="t" r="r" b="b"/>
            <a:pathLst>
              <a:path w="3822882" h="3752059">
                <a:moveTo>
                  <a:pt x="2604943" y="2461449"/>
                </a:moveTo>
                <a:lnTo>
                  <a:pt x="2630879" y="2470525"/>
                </a:lnTo>
                <a:lnTo>
                  <a:pt x="2894956" y="2554885"/>
                </a:lnTo>
                <a:lnTo>
                  <a:pt x="3410638" y="2728005"/>
                </a:lnTo>
                <a:cubicBezTo>
                  <a:pt x="3419198" y="2761012"/>
                  <a:pt x="3557344" y="2838035"/>
                  <a:pt x="3577150" y="2920925"/>
                </a:cubicBezTo>
                <a:cubicBezTo>
                  <a:pt x="3656617" y="3048682"/>
                  <a:pt x="3706860" y="3281093"/>
                  <a:pt x="3822882" y="3570839"/>
                </a:cubicBezTo>
                <a:cubicBezTo>
                  <a:pt x="3805767" y="3641748"/>
                  <a:pt x="3080550" y="3625614"/>
                  <a:pt x="3058543" y="3679407"/>
                </a:cubicBezTo>
                <a:cubicBezTo>
                  <a:pt x="3022354" y="3635396"/>
                  <a:pt x="3009638" y="3556178"/>
                  <a:pt x="2949975" y="3547376"/>
                </a:cubicBezTo>
                <a:lnTo>
                  <a:pt x="2994719" y="3677943"/>
                </a:lnTo>
                <a:cubicBezTo>
                  <a:pt x="2182996" y="3772392"/>
                  <a:pt x="1751312" y="3776865"/>
                  <a:pt x="816080" y="3689680"/>
                </a:cubicBezTo>
                <a:lnTo>
                  <a:pt x="776278" y="3679175"/>
                </a:lnTo>
                <a:cubicBezTo>
                  <a:pt x="760130" y="3663903"/>
                  <a:pt x="805875" y="3632123"/>
                  <a:pt x="831814" y="3564035"/>
                </a:cubicBezTo>
                <a:cubicBezTo>
                  <a:pt x="732053" y="3577727"/>
                  <a:pt x="767263" y="3644235"/>
                  <a:pt x="702710" y="3681400"/>
                </a:cubicBezTo>
                <a:lnTo>
                  <a:pt x="1119" y="3652995"/>
                </a:lnTo>
                <a:cubicBezTo>
                  <a:pt x="-13552" y="3579639"/>
                  <a:pt x="119464" y="3256395"/>
                  <a:pt x="197708" y="3016286"/>
                </a:cubicBezTo>
                <a:cubicBezTo>
                  <a:pt x="194039" y="2969828"/>
                  <a:pt x="311651" y="2866151"/>
                  <a:pt x="327543" y="2834366"/>
                </a:cubicBezTo>
                <a:lnTo>
                  <a:pt x="548340" y="2730937"/>
                </a:lnTo>
                <a:lnTo>
                  <a:pt x="778672" y="2657580"/>
                </a:lnTo>
                <a:lnTo>
                  <a:pt x="1086761" y="2536545"/>
                </a:lnTo>
                <a:lnTo>
                  <a:pt x="1169485" y="2505031"/>
                </a:lnTo>
                <a:cubicBezTo>
                  <a:pt x="1272474" y="2674804"/>
                  <a:pt x="1481574" y="2992820"/>
                  <a:pt x="1618157" y="3135652"/>
                </a:cubicBezTo>
                <a:cubicBezTo>
                  <a:pt x="1767799" y="3292139"/>
                  <a:pt x="1921350" y="3411461"/>
                  <a:pt x="2040672" y="3399726"/>
                </a:cubicBezTo>
                <a:cubicBezTo>
                  <a:pt x="2159994" y="3387991"/>
                  <a:pt x="2226503" y="3257907"/>
                  <a:pt x="2334086" y="3065233"/>
                </a:cubicBezTo>
                <a:cubicBezTo>
                  <a:pt x="2407845" y="2933141"/>
                  <a:pt x="2524811" y="2664523"/>
                  <a:pt x="2604943" y="2461449"/>
                </a:cubicBezTo>
                <a:close/>
                <a:moveTo>
                  <a:pt x="2267850" y="2101353"/>
                </a:moveTo>
                <a:cubicBezTo>
                  <a:pt x="2269703" y="2150001"/>
                  <a:pt x="2247364" y="2261996"/>
                  <a:pt x="2256770" y="2275399"/>
                </a:cubicBezTo>
                <a:cubicBezTo>
                  <a:pt x="2320188" y="2359599"/>
                  <a:pt x="2448156" y="2355777"/>
                  <a:pt x="2523310" y="2410636"/>
                </a:cubicBezTo>
                <a:cubicBezTo>
                  <a:pt x="2468874" y="2575788"/>
                  <a:pt x="2403443" y="2783807"/>
                  <a:pt x="2339954" y="2900922"/>
                </a:cubicBezTo>
                <a:cubicBezTo>
                  <a:pt x="2239216" y="3086749"/>
                  <a:pt x="2134567" y="3299966"/>
                  <a:pt x="1999596" y="3305833"/>
                </a:cubicBezTo>
                <a:cubicBezTo>
                  <a:pt x="1864625" y="3311701"/>
                  <a:pt x="1682710" y="3119028"/>
                  <a:pt x="1530135" y="2936132"/>
                </a:cubicBezTo>
                <a:cubicBezTo>
                  <a:pt x="1443963" y="2832838"/>
                  <a:pt x="1333459" y="2639383"/>
                  <a:pt x="1242021" y="2476255"/>
                </a:cubicBezTo>
                <a:cubicBezTo>
                  <a:pt x="1271310" y="2451589"/>
                  <a:pt x="1478555" y="2354846"/>
                  <a:pt x="1518086" y="2295208"/>
                </a:cubicBezTo>
                <a:cubicBezTo>
                  <a:pt x="1520752" y="2238782"/>
                  <a:pt x="1523195" y="2205155"/>
                  <a:pt x="1514557" y="2115191"/>
                </a:cubicBezTo>
                <a:cubicBezTo>
                  <a:pt x="1572565" y="2150194"/>
                  <a:pt x="1615563" y="2196830"/>
                  <a:pt x="1688578" y="2220200"/>
                </a:cubicBezTo>
                <a:cubicBezTo>
                  <a:pt x="1761595" y="2243569"/>
                  <a:pt x="1870497" y="2266169"/>
                  <a:pt x="1952653" y="2255411"/>
                </a:cubicBezTo>
                <a:cubicBezTo>
                  <a:pt x="2034807" y="2244654"/>
                  <a:pt x="2128980" y="2181327"/>
                  <a:pt x="2181513" y="2155651"/>
                </a:cubicBezTo>
                <a:cubicBezTo>
                  <a:pt x="2234046" y="2129975"/>
                  <a:pt x="2241173" y="2107598"/>
                  <a:pt x="2267850" y="2101353"/>
                </a:cubicBezTo>
                <a:close/>
                <a:moveTo>
                  <a:pt x="864552" y="1475582"/>
                </a:moveTo>
                <a:lnTo>
                  <a:pt x="914366" y="1565290"/>
                </a:lnTo>
                <a:cubicBezTo>
                  <a:pt x="1025722" y="1673305"/>
                  <a:pt x="1079954" y="1706803"/>
                  <a:pt x="1205720" y="1714301"/>
                </a:cubicBezTo>
                <a:cubicBezTo>
                  <a:pt x="1203848" y="1728293"/>
                  <a:pt x="1191911" y="1750231"/>
                  <a:pt x="1213910" y="1795664"/>
                </a:cubicBezTo>
                <a:cubicBezTo>
                  <a:pt x="1235909" y="1841097"/>
                  <a:pt x="1315706" y="1937993"/>
                  <a:pt x="1337712" y="1986896"/>
                </a:cubicBezTo>
                <a:cubicBezTo>
                  <a:pt x="1359717" y="2035799"/>
                  <a:pt x="1362506" y="2067160"/>
                  <a:pt x="1345948" y="2089081"/>
                </a:cubicBezTo>
                <a:cubicBezTo>
                  <a:pt x="1329390" y="2111002"/>
                  <a:pt x="1282372" y="2110274"/>
                  <a:pt x="1238362" y="2118424"/>
                </a:cubicBezTo>
                <a:cubicBezTo>
                  <a:pt x="1194348" y="2126574"/>
                  <a:pt x="1131589" y="2140431"/>
                  <a:pt x="1081872" y="2137984"/>
                </a:cubicBezTo>
                <a:cubicBezTo>
                  <a:pt x="1032153" y="2135540"/>
                  <a:pt x="974285" y="2127389"/>
                  <a:pt x="940053" y="2103754"/>
                </a:cubicBezTo>
                <a:cubicBezTo>
                  <a:pt x="905821" y="2080116"/>
                  <a:pt x="891963" y="2045883"/>
                  <a:pt x="876477" y="1996165"/>
                </a:cubicBezTo>
                <a:cubicBezTo>
                  <a:pt x="860991" y="1946449"/>
                  <a:pt x="850398" y="1878799"/>
                  <a:pt x="847137" y="1805442"/>
                </a:cubicBezTo>
                <a:cubicBezTo>
                  <a:pt x="843876" y="1732089"/>
                  <a:pt x="854015" y="1611013"/>
                  <a:pt x="856917" y="1556036"/>
                </a:cubicBezTo>
                <a:cubicBezTo>
                  <a:pt x="859820" y="1501060"/>
                  <a:pt x="858522" y="1527380"/>
                  <a:pt x="864552" y="1475582"/>
                </a:cubicBezTo>
                <a:close/>
                <a:moveTo>
                  <a:pt x="2887321" y="1462498"/>
                </a:moveTo>
                <a:cubicBezTo>
                  <a:pt x="2900003" y="1567686"/>
                  <a:pt x="2894907" y="1656391"/>
                  <a:pt x="2894956" y="1736980"/>
                </a:cubicBezTo>
                <a:cubicBezTo>
                  <a:pt x="2895006" y="1817570"/>
                  <a:pt x="2899234" y="1886133"/>
                  <a:pt x="2887619" y="1946039"/>
                </a:cubicBezTo>
                <a:cubicBezTo>
                  <a:pt x="2876005" y="2005948"/>
                  <a:pt x="2854609" y="2067688"/>
                  <a:pt x="2825269" y="2096417"/>
                </a:cubicBezTo>
                <a:cubicBezTo>
                  <a:pt x="2795926" y="2125147"/>
                  <a:pt x="2760473" y="2117202"/>
                  <a:pt x="2711568" y="2118424"/>
                </a:cubicBezTo>
                <a:cubicBezTo>
                  <a:pt x="2662665" y="2119646"/>
                  <a:pt x="2584419" y="2114146"/>
                  <a:pt x="2531850" y="2103754"/>
                </a:cubicBezTo>
                <a:cubicBezTo>
                  <a:pt x="2479279" y="2093362"/>
                  <a:pt x="2415707" y="2072577"/>
                  <a:pt x="2396144" y="2056073"/>
                </a:cubicBezTo>
                <a:cubicBezTo>
                  <a:pt x="2376582" y="2039567"/>
                  <a:pt x="2399200" y="2029787"/>
                  <a:pt x="2414481" y="2004724"/>
                </a:cubicBezTo>
                <a:cubicBezTo>
                  <a:pt x="2429764" y="1979661"/>
                  <a:pt x="2465065" y="1955513"/>
                  <a:pt x="2487836" y="1905695"/>
                </a:cubicBezTo>
                <a:cubicBezTo>
                  <a:pt x="2510607" y="1855878"/>
                  <a:pt x="2536106" y="1748272"/>
                  <a:pt x="2551107" y="1705821"/>
                </a:cubicBezTo>
                <a:cubicBezTo>
                  <a:pt x="2674231" y="1695933"/>
                  <a:pt x="2790473" y="1647787"/>
                  <a:pt x="2850919" y="1511681"/>
                </a:cubicBezTo>
                <a:close/>
                <a:moveTo>
                  <a:pt x="2725207" y="774572"/>
                </a:moveTo>
                <a:lnTo>
                  <a:pt x="2740910" y="790703"/>
                </a:lnTo>
                <a:cubicBezTo>
                  <a:pt x="2757236" y="822871"/>
                  <a:pt x="2775069" y="904440"/>
                  <a:pt x="2792635" y="987426"/>
                </a:cubicBezTo>
                <a:cubicBezTo>
                  <a:pt x="2752116" y="934386"/>
                  <a:pt x="2701043" y="894859"/>
                  <a:pt x="2644236" y="872837"/>
                </a:cubicBezTo>
                <a:cubicBezTo>
                  <a:pt x="2643982" y="869631"/>
                  <a:pt x="2644720" y="866757"/>
                  <a:pt x="2645550" y="864058"/>
                </a:cubicBezTo>
                <a:cubicBezTo>
                  <a:pt x="2652886" y="840218"/>
                  <a:pt x="2666335" y="821270"/>
                  <a:pt x="2682228" y="809043"/>
                </a:cubicBezTo>
                <a:cubicBezTo>
                  <a:pt x="2694147" y="799873"/>
                  <a:pt x="2709504" y="771104"/>
                  <a:pt x="2725207" y="774572"/>
                </a:cubicBezTo>
                <a:close/>
                <a:moveTo>
                  <a:pt x="2521733" y="389743"/>
                </a:moveTo>
                <a:cubicBezTo>
                  <a:pt x="2566478" y="443277"/>
                  <a:pt x="2609083" y="497174"/>
                  <a:pt x="2636991" y="533961"/>
                </a:cubicBezTo>
                <a:cubicBezTo>
                  <a:pt x="2690784" y="604871"/>
                  <a:pt x="2716865" y="640734"/>
                  <a:pt x="2725015" y="680672"/>
                </a:cubicBezTo>
                <a:cubicBezTo>
                  <a:pt x="2733165" y="720609"/>
                  <a:pt x="2706270" y="750767"/>
                  <a:pt x="2685894" y="773586"/>
                </a:cubicBezTo>
                <a:cubicBezTo>
                  <a:pt x="2672847" y="788201"/>
                  <a:pt x="2652111" y="802480"/>
                  <a:pt x="2632455" y="810122"/>
                </a:cubicBezTo>
                <a:cubicBezTo>
                  <a:pt x="2624524" y="643811"/>
                  <a:pt x="2584245" y="503902"/>
                  <a:pt x="2521733" y="389743"/>
                </a:cubicBezTo>
                <a:close/>
                <a:moveTo>
                  <a:pt x="1743075" y="297656"/>
                </a:moveTo>
                <a:cubicBezTo>
                  <a:pt x="1852613" y="544512"/>
                  <a:pt x="2371725" y="517526"/>
                  <a:pt x="2471738" y="916781"/>
                </a:cubicBezTo>
                <a:cubicBezTo>
                  <a:pt x="2386013" y="474662"/>
                  <a:pt x="1912144" y="534987"/>
                  <a:pt x="1743075" y="297656"/>
                </a:cubicBezTo>
                <a:close/>
                <a:moveTo>
                  <a:pt x="1676846" y="236727"/>
                </a:moveTo>
                <a:cubicBezTo>
                  <a:pt x="1864628" y="706186"/>
                  <a:pt x="1406907" y="817686"/>
                  <a:pt x="1412774" y="1064151"/>
                </a:cubicBezTo>
                <a:cubicBezTo>
                  <a:pt x="1477326" y="759005"/>
                  <a:pt x="1841158" y="735526"/>
                  <a:pt x="1770738" y="453849"/>
                </a:cubicBezTo>
                <a:close/>
                <a:moveTo>
                  <a:pt x="1472593" y="96505"/>
                </a:moveTo>
                <a:cubicBezTo>
                  <a:pt x="1244666" y="225442"/>
                  <a:pt x="1081525" y="478905"/>
                  <a:pt x="1105095" y="846218"/>
                </a:cubicBezTo>
                <a:lnTo>
                  <a:pt x="1106315" y="873140"/>
                </a:lnTo>
                <a:cubicBezTo>
                  <a:pt x="1038208" y="901745"/>
                  <a:pt x="978198" y="954650"/>
                  <a:pt x="934614" y="1025702"/>
                </a:cubicBezTo>
                <a:cubicBezTo>
                  <a:pt x="934731" y="1024782"/>
                  <a:pt x="934945" y="1023887"/>
                  <a:pt x="935162" y="1022993"/>
                </a:cubicBezTo>
                <a:cubicBezTo>
                  <a:pt x="978359" y="843683"/>
                  <a:pt x="1060678" y="612207"/>
                  <a:pt x="1116102" y="480168"/>
                </a:cubicBezTo>
                <a:cubicBezTo>
                  <a:pt x="1171528" y="348131"/>
                  <a:pt x="1217986" y="292705"/>
                  <a:pt x="1267702" y="230764"/>
                </a:cubicBezTo>
                <a:cubicBezTo>
                  <a:pt x="1317421" y="168818"/>
                  <a:pt x="1367955" y="132141"/>
                  <a:pt x="1414413" y="108503"/>
                </a:cubicBezTo>
                <a:cubicBezTo>
                  <a:pt x="1434160" y="98457"/>
                  <a:pt x="1453614" y="96362"/>
                  <a:pt x="1472593" y="96505"/>
                </a:cubicBezTo>
                <a:close/>
                <a:moveTo>
                  <a:pt x="1825923" y="91201"/>
                </a:moveTo>
                <a:cubicBezTo>
                  <a:pt x="2135956" y="87199"/>
                  <a:pt x="2458209" y="314634"/>
                  <a:pt x="2508361" y="706119"/>
                </a:cubicBezTo>
                <a:lnTo>
                  <a:pt x="2509839" y="707231"/>
                </a:lnTo>
                <a:lnTo>
                  <a:pt x="2510597" y="717679"/>
                </a:lnTo>
                <a:cubicBezTo>
                  <a:pt x="2512640" y="723049"/>
                  <a:pt x="2513245" y="728616"/>
                  <a:pt x="2513795" y="734215"/>
                </a:cubicBezTo>
                <a:lnTo>
                  <a:pt x="2511610" y="731650"/>
                </a:lnTo>
                <a:cubicBezTo>
                  <a:pt x="2513320" y="753373"/>
                  <a:pt x="2514497" y="771732"/>
                  <a:pt x="2515051" y="789484"/>
                </a:cubicBezTo>
                <a:cubicBezTo>
                  <a:pt x="2515942" y="790378"/>
                  <a:pt x="2516777" y="791315"/>
                  <a:pt x="2517609" y="792251"/>
                </a:cubicBezTo>
                <a:cubicBezTo>
                  <a:pt x="2517932" y="809950"/>
                  <a:pt x="2518255" y="827651"/>
                  <a:pt x="2518578" y="845350"/>
                </a:cubicBezTo>
                <a:cubicBezTo>
                  <a:pt x="2518506" y="846580"/>
                  <a:pt x="2518434" y="847809"/>
                  <a:pt x="2518362" y="849038"/>
                </a:cubicBezTo>
                <a:lnTo>
                  <a:pt x="2516075" y="848928"/>
                </a:lnTo>
                <a:cubicBezTo>
                  <a:pt x="2515937" y="865978"/>
                  <a:pt x="2515432" y="884823"/>
                  <a:pt x="2514601" y="907256"/>
                </a:cubicBezTo>
                <a:lnTo>
                  <a:pt x="2512918" y="906169"/>
                </a:lnTo>
                <a:lnTo>
                  <a:pt x="2508589" y="1016247"/>
                </a:lnTo>
                <a:lnTo>
                  <a:pt x="2470675" y="1664816"/>
                </a:lnTo>
                <a:cubicBezTo>
                  <a:pt x="2472968" y="1666152"/>
                  <a:pt x="2475192" y="1667415"/>
                  <a:pt x="2477521" y="1668311"/>
                </a:cubicBezTo>
                <a:lnTo>
                  <a:pt x="2471891" y="1688712"/>
                </a:lnTo>
                <a:cubicBezTo>
                  <a:pt x="2326817" y="1810204"/>
                  <a:pt x="2143990" y="1903249"/>
                  <a:pt x="2037270" y="1929145"/>
                </a:cubicBezTo>
                <a:lnTo>
                  <a:pt x="2034920" y="1922197"/>
                </a:lnTo>
                <a:cubicBezTo>
                  <a:pt x="2026869" y="1898414"/>
                  <a:pt x="2001060" y="1885659"/>
                  <a:pt x="1977277" y="1893710"/>
                </a:cubicBezTo>
                <a:lnTo>
                  <a:pt x="1785695" y="1958561"/>
                </a:lnTo>
                <a:cubicBezTo>
                  <a:pt x="1761911" y="1966612"/>
                  <a:pt x="1749156" y="1992419"/>
                  <a:pt x="1757207" y="2016203"/>
                </a:cubicBezTo>
                <a:lnTo>
                  <a:pt x="1778033" y="2077723"/>
                </a:lnTo>
                <a:cubicBezTo>
                  <a:pt x="1786084" y="2101508"/>
                  <a:pt x="1811890" y="2114262"/>
                  <a:pt x="1835675" y="2106211"/>
                </a:cubicBezTo>
                <a:lnTo>
                  <a:pt x="2027257" y="2041359"/>
                </a:lnTo>
                <a:cubicBezTo>
                  <a:pt x="2051041" y="2033309"/>
                  <a:pt x="2063795" y="2007502"/>
                  <a:pt x="2055744" y="1983718"/>
                </a:cubicBezTo>
                <a:lnTo>
                  <a:pt x="2053617" y="1977433"/>
                </a:lnTo>
                <a:cubicBezTo>
                  <a:pt x="2219167" y="1921374"/>
                  <a:pt x="2336955" y="1853107"/>
                  <a:pt x="2449571" y="1759626"/>
                </a:cubicBezTo>
                <a:cubicBezTo>
                  <a:pt x="2393537" y="1905843"/>
                  <a:pt x="2294866" y="1993793"/>
                  <a:pt x="2239957" y="2053707"/>
                </a:cubicBezTo>
                <a:cubicBezTo>
                  <a:pt x="2147337" y="2147552"/>
                  <a:pt x="2079757" y="2177782"/>
                  <a:pt x="2005466" y="2202597"/>
                </a:cubicBezTo>
                <a:cubicBezTo>
                  <a:pt x="1931175" y="2227412"/>
                  <a:pt x="1879141" y="2232093"/>
                  <a:pt x="1794209" y="2202597"/>
                </a:cubicBezTo>
                <a:cubicBezTo>
                  <a:pt x="1709278" y="2173101"/>
                  <a:pt x="1583436" y="2128314"/>
                  <a:pt x="1495871" y="2025623"/>
                </a:cubicBezTo>
                <a:cubicBezTo>
                  <a:pt x="1472168" y="1985334"/>
                  <a:pt x="1274277" y="1806037"/>
                  <a:pt x="1268806" y="1586454"/>
                </a:cubicBezTo>
                <a:lnTo>
                  <a:pt x="1267622" y="1585942"/>
                </a:lnTo>
                <a:lnTo>
                  <a:pt x="1238626" y="848883"/>
                </a:lnTo>
                <a:lnTo>
                  <a:pt x="1214876" y="849628"/>
                </a:lnTo>
                <a:lnTo>
                  <a:pt x="1214341" y="837692"/>
                </a:lnTo>
                <a:cubicBezTo>
                  <a:pt x="1228424" y="322534"/>
                  <a:pt x="1521273" y="95133"/>
                  <a:pt x="1825923" y="91201"/>
                </a:cubicBezTo>
                <a:close/>
                <a:moveTo>
                  <a:pt x="1905282" y="5199"/>
                </a:moveTo>
                <a:cubicBezTo>
                  <a:pt x="2312327" y="29922"/>
                  <a:pt x="2628640" y="447901"/>
                  <a:pt x="2603911" y="853166"/>
                </a:cubicBezTo>
                <a:lnTo>
                  <a:pt x="2600905" y="920993"/>
                </a:lnTo>
                <a:cubicBezTo>
                  <a:pt x="2712585" y="938794"/>
                  <a:pt x="2810054" y="1018284"/>
                  <a:pt x="2858389" y="1134307"/>
                </a:cubicBezTo>
                <a:cubicBezTo>
                  <a:pt x="2906511" y="1249815"/>
                  <a:pt x="2898731" y="1384615"/>
                  <a:pt x="2837727" y="1492317"/>
                </a:cubicBezTo>
                <a:cubicBezTo>
                  <a:pt x="2768709" y="1614166"/>
                  <a:pt x="2643368" y="1680939"/>
                  <a:pt x="2515534" y="1664359"/>
                </a:cubicBezTo>
                <a:lnTo>
                  <a:pt x="2540726" y="1668803"/>
                </a:lnTo>
                <a:cubicBezTo>
                  <a:pt x="2391386" y="1816870"/>
                  <a:pt x="2108017" y="1963020"/>
                  <a:pt x="2031430" y="1961743"/>
                </a:cubicBezTo>
                <a:lnTo>
                  <a:pt x="2028761" y="1955738"/>
                </a:lnTo>
                <a:lnTo>
                  <a:pt x="2037609" y="1981874"/>
                </a:lnTo>
                <a:cubicBezTo>
                  <a:pt x="2043938" y="2000572"/>
                  <a:pt x="2033912" y="2020859"/>
                  <a:pt x="2015215" y="2027188"/>
                </a:cubicBezTo>
                <a:lnTo>
                  <a:pt x="1838934" y="2086860"/>
                </a:lnTo>
                <a:cubicBezTo>
                  <a:pt x="1820236" y="2093188"/>
                  <a:pt x="1799949" y="2083163"/>
                  <a:pt x="1793620" y="2064465"/>
                </a:cubicBezTo>
                <a:lnTo>
                  <a:pt x="1777250" y="2016105"/>
                </a:lnTo>
                <a:cubicBezTo>
                  <a:pt x="1770922" y="1997408"/>
                  <a:pt x="1780947" y="1977121"/>
                  <a:pt x="1799645" y="1970791"/>
                </a:cubicBezTo>
                <a:lnTo>
                  <a:pt x="1975926" y="1911120"/>
                </a:lnTo>
                <a:cubicBezTo>
                  <a:pt x="1980600" y="1909538"/>
                  <a:pt x="1985373" y="1908978"/>
                  <a:pt x="1990003" y="1909320"/>
                </a:cubicBezTo>
                <a:cubicBezTo>
                  <a:pt x="2003895" y="1910346"/>
                  <a:pt x="2016493" y="1919491"/>
                  <a:pt x="2021239" y="1933515"/>
                </a:cubicBezTo>
                <a:lnTo>
                  <a:pt x="2024847" y="1944172"/>
                </a:lnTo>
                <a:cubicBezTo>
                  <a:pt x="2213660" y="1894300"/>
                  <a:pt x="2451303" y="1742341"/>
                  <a:pt x="2507587" y="1663724"/>
                </a:cubicBezTo>
                <a:cubicBezTo>
                  <a:pt x="2506384" y="1663812"/>
                  <a:pt x="2505220" y="1663630"/>
                  <a:pt x="2504057" y="1663441"/>
                </a:cubicBezTo>
                <a:lnTo>
                  <a:pt x="2513198" y="1528561"/>
                </a:lnTo>
                <a:lnTo>
                  <a:pt x="2542642" y="914436"/>
                </a:lnTo>
                <a:cubicBezTo>
                  <a:pt x="2561363" y="574055"/>
                  <a:pt x="2404788" y="129007"/>
                  <a:pt x="1884006" y="56678"/>
                </a:cubicBezTo>
                <a:cubicBezTo>
                  <a:pt x="1189629" y="66038"/>
                  <a:pt x="1180269" y="757860"/>
                  <a:pt x="1194736" y="909329"/>
                </a:cubicBezTo>
                <a:lnTo>
                  <a:pt x="1211177" y="1211447"/>
                </a:lnTo>
                <a:lnTo>
                  <a:pt x="1243376" y="1663441"/>
                </a:lnTo>
                <a:lnTo>
                  <a:pt x="1194310" y="1667373"/>
                </a:lnTo>
                <a:lnTo>
                  <a:pt x="1179418" y="1670080"/>
                </a:lnTo>
                <a:lnTo>
                  <a:pt x="1179145" y="1666144"/>
                </a:lnTo>
                <a:cubicBezTo>
                  <a:pt x="1070665" y="1661389"/>
                  <a:pt x="969621" y="1597582"/>
                  <a:pt x="910103" y="1493017"/>
                </a:cubicBezTo>
                <a:cubicBezTo>
                  <a:pt x="849020" y="1385701"/>
                  <a:pt x="840867" y="1251257"/>
                  <a:pt x="888437" y="1135772"/>
                </a:cubicBezTo>
                <a:cubicBezTo>
                  <a:pt x="933813" y="1025611"/>
                  <a:pt x="1023453" y="948016"/>
                  <a:pt x="1127888" y="925245"/>
                </a:cubicBezTo>
                <a:lnTo>
                  <a:pt x="1123255" y="858272"/>
                </a:lnTo>
                <a:cubicBezTo>
                  <a:pt x="1105385" y="260905"/>
                  <a:pt x="1524904" y="1364"/>
                  <a:pt x="1822737" y="5619"/>
                </a:cubicBezTo>
                <a:cubicBezTo>
                  <a:pt x="1850606" y="3652"/>
                  <a:pt x="1878146" y="3552"/>
                  <a:pt x="1905282" y="5199"/>
                </a:cubicBezTo>
                <a:close/>
                <a:moveTo>
                  <a:pt x="1764375" y="0"/>
                </a:moveTo>
                <a:lnTo>
                  <a:pt x="1784561" y="169"/>
                </a:lnTo>
                <a:cubicBezTo>
                  <a:pt x="1727259" y="4527"/>
                  <a:pt x="1670664" y="15855"/>
                  <a:pt x="1616014" y="33313"/>
                </a:cubicBezTo>
                <a:cubicBezTo>
                  <a:pt x="1627407" y="23458"/>
                  <a:pt x="1641157" y="15402"/>
                  <a:pt x="1658927" y="10698"/>
                </a:cubicBezTo>
                <a:cubicBezTo>
                  <a:pt x="1686640" y="3364"/>
                  <a:pt x="1725153" y="715"/>
                  <a:pt x="1764375"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sz="1800" dirty="0">
              <a:solidFill>
                <a:schemeClr val="tx1"/>
              </a:solidFill>
            </a:endParaRPr>
          </a:p>
        </p:txBody>
      </p:sp>
      <p:sp>
        <p:nvSpPr>
          <p:cNvPr id="36" name="TextBox 35"/>
          <p:cNvSpPr txBox="1"/>
          <p:nvPr/>
        </p:nvSpPr>
        <p:spPr>
          <a:xfrm>
            <a:off x="7125676" y="5557419"/>
            <a:ext cx="1582896" cy="461665"/>
          </a:xfrm>
          <a:prstGeom prst="rect">
            <a:avLst/>
          </a:prstGeom>
        </p:spPr>
        <p:txBody>
          <a:bodyPr vert="horz" wrap="squar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Capture and Catalog</a:t>
            </a:r>
          </a:p>
          <a:p>
            <a:pPr algn="ctr" defTabSz="1088105"/>
            <a:r>
              <a:rPr lang="en-US" sz="1000" dirty="0">
                <a:latin typeface="Segoe UI Semibold" panose="020B0702040204020203" pitchFamily="34" charset="0"/>
                <a:ea typeface="Segoe UI" pitchFamily="34" charset="0"/>
                <a:cs typeface="Segoe UI Semibold" panose="020B0702040204020203" pitchFamily="34" charset="0"/>
              </a:rPr>
              <a:t>Each new solution in </a:t>
            </a:r>
            <a:r>
              <a:rPr lang="en-US" sz="1000" dirty="0" err="1">
                <a:latin typeface="Segoe UI Semibold" panose="020B0702040204020203" pitchFamily="34" charset="0"/>
                <a:ea typeface="Segoe UI" pitchFamily="34" charset="0"/>
                <a:cs typeface="Segoe UI Semibold" panose="020B0702040204020203" pitchFamily="34" charset="0"/>
              </a:rPr>
              <a:t>Github</a:t>
            </a:r>
            <a:endParaRPr lang="en-US" sz="1000" dirty="0">
              <a:latin typeface="Segoe UI Semibold" panose="020B0702040204020203" pitchFamily="34" charset="0"/>
              <a:ea typeface="Segoe UI" pitchFamily="34" charset="0"/>
              <a:cs typeface="Segoe UI Semibold" panose="020B0702040204020203" pitchFamily="34" charset="0"/>
            </a:endParaRPr>
          </a:p>
        </p:txBody>
      </p:sp>
      <p:sp>
        <p:nvSpPr>
          <p:cNvPr id="37" name="Freeform 25"/>
          <p:cNvSpPr>
            <a:spLocks noChangeAspect="1" noEditPoints="1"/>
          </p:cNvSpPr>
          <p:nvPr/>
        </p:nvSpPr>
        <p:spPr bwMode="black">
          <a:xfrm>
            <a:off x="7826933" y="5154643"/>
            <a:ext cx="411480" cy="35036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sp>
        <p:nvSpPr>
          <p:cNvPr id="38" name="TextBox 37"/>
          <p:cNvSpPr txBox="1"/>
          <p:nvPr/>
        </p:nvSpPr>
        <p:spPr>
          <a:xfrm>
            <a:off x="7574097" y="4635873"/>
            <a:ext cx="896079"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Review Success</a:t>
            </a:r>
          </a:p>
          <a:p>
            <a:pPr algn="ctr" defTabSz="1088105"/>
            <a:r>
              <a:rPr lang="en-US" sz="1000" dirty="0">
                <a:latin typeface="Segoe UI Semibold" panose="020B0702040204020203" pitchFamily="34" charset="0"/>
                <a:ea typeface="Segoe UI" pitchFamily="34" charset="0"/>
                <a:cs typeface="Segoe UI Semibold" panose="020B0702040204020203" pitchFamily="34" charset="0"/>
              </a:rPr>
              <a:t>Criteria</a:t>
            </a:r>
          </a:p>
        </p:txBody>
      </p:sp>
      <p:sp>
        <p:nvSpPr>
          <p:cNvPr id="41" name="Freeform 22"/>
          <p:cNvSpPr>
            <a:spLocks noChangeAspect="1" noEditPoints="1"/>
          </p:cNvSpPr>
          <p:nvPr/>
        </p:nvSpPr>
        <p:spPr bwMode="black">
          <a:xfrm>
            <a:off x="7843686" y="4280236"/>
            <a:ext cx="365856" cy="36576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lumMod val="50000"/>
            </a:schemeClr>
          </a:solidFill>
          <a:ln>
            <a:noFill/>
          </a:ln>
          <a:extLst/>
        </p:spPr>
        <p:txBody>
          <a:bodyPr vert="horz" wrap="square" lIns="82305" tIns="41153" rIns="82305" bIns="41153" numCol="1" anchor="t" anchorCtr="0" compatLnSpc="1">
            <a:prstTxWarp prst="textNoShape">
              <a:avLst/>
            </a:prstTxWarp>
          </a:bodyPr>
          <a:lstStyle/>
          <a:p>
            <a:pPr defTabSz="914400"/>
            <a:endParaRPr lang="en-US" sz="1600" dirty="0"/>
          </a:p>
        </p:txBody>
      </p:sp>
      <p:grpSp>
        <p:nvGrpSpPr>
          <p:cNvPr id="42" name="Group 41"/>
          <p:cNvGrpSpPr/>
          <p:nvPr/>
        </p:nvGrpSpPr>
        <p:grpSpPr>
          <a:xfrm>
            <a:off x="2393727" y="5276981"/>
            <a:ext cx="221808" cy="449696"/>
            <a:chOff x="2209287" y="3149579"/>
            <a:chExt cx="285893" cy="579618"/>
          </a:xfrm>
        </p:grpSpPr>
        <p:sp>
          <p:nvSpPr>
            <p:cNvPr id="43" name="Round Same Side Corner Rectangle 2"/>
            <p:cNvSpPr>
              <a:spLocks noChangeAspect="1"/>
            </p:cNvSpPr>
            <p:nvPr/>
          </p:nvSpPr>
          <p:spPr>
            <a:xfrm>
              <a:off x="2209287" y="3149579"/>
              <a:ext cx="285893" cy="579618"/>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chemeClr val="tx1"/>
                </a:solidFill>
              </a:endParaRPr>
            </a:p>
          </p:txBody>
        </p:sp>
        <p:sp>
          <p:nvSpPr>
            <p:cNvPr id="44" name="Freeform 61"/>
            <p:cNvSpPr>
              <a:spLocks noChangeAspect="1" noEditPoints="1"/>
            </p:cNvSpPr>
            <p:nvPr/>
          </p:nvSpPr>
          <p:spPr bwMode="black">
            <a:xfrm>
              <a:off x="2229091" y="3290153"/>
              <a:ext cx="238215" cy="298469"/>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grpSp>
      <p:sp>
        <p:nvSpPr>
          <p:cNvPr id="45" name="TextBox 44"/>
          <p:cNvSpPr txBox="1"/>
          <p:nvPr/>
        </p:nvSpPr>
        <p:spPr>
          <a:xfrm>
            <a:off x="584918" y="5874388"/>
            <a:ext cx="1428276"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Traditional Data Sources</a:t>
            </a:r>
          </a:p>
        </p:txBody>
      </p:sp>
      <p:sp>
        <p:nvSpPr>
          <p:cNvPr id="46" name="TextBox 45"/>
          <p:cNvSpPr txBox="1"/>
          <p:nvPr/>
        </p:nvSpPr>
        <p:spPr>
          <a:xfrm>
            <a:off x="940271" y="4927676"/>
            <a:ext cx="738985"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Social media</a:t>
            </a:r>
          </a:p>
        </p:txBody>
      </p:sp>
      <p:sp>
        <p:nvSpPr>
          <p:cNvPr id="47" name="TextBox 46"/>
          <p:cNvSpPr txBox="1"/>
          <p:nvPr/>
        </p:nvSpPr>
        <p:spPr>
          <a:xfrm>
            <a:off x="2226518" y="4913628"/>
            <a:ext cx="278924"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CRM</a:t>
            </a:r>
          </a:p>
        </p:txBody>
      </p:sp>
      <p:sp>
        <p:nvSpPr>
          <p:cNvPr id="48" name="TextBox 47"/>
          <p:cNvSpPr txBox="1"/>
          <p:nvPr/>
        </p:nvSpPr>
        <p:spPr>
          <a:xfrm>
            <a:off x="2313594" y="5811671"/>
            <a:ext cx="444032"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Devices</a:t>
            </a:r>
          </a:p>
        </p:txBody>
      </p:sp>
      <p:grpSp>
        <p:nvGrpSpPr>
          <p:cNvPr id="49" name="Group 48"/>
          <p:cNvGrpSpPr/>
          <p:nvPr/>
        </p:nvGrpSpPr>
        <p:grpSpPr>
          <a:xfrm>
            <a:off x="9155179" y="5344774"/>
            <a:ext cx="533528" cy="534764"/>
            <a:chOff x="10235665" y="2193363"/>
            <a:chExt cx="580477" cy="581821"/>
          </a:xfrm>
        </p:grpSpPr>
        <p:sp>
          <p:nvSpPr>
            <p:cNvPr id="50" name="Freeform 153"/>
            <p:cNvSpPr>
              <a:spLocks noChangeAspect="1"/>
            </p:cNvSpPr>
            <p:nvPr/>
          </p:nvSpPr>
          <p:spPr bwMode="auto">
            <a:xfrm>
              <a:off x="10235665" y="2193363"/>
              <a:ext cx="580477" cy="581821"/>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1800" dirty="0">
                <a:latin typeface="Arial" charset="0"/>
              </a:endParaRPr>
            </a:p>
          </p:txBody>
        </p:sp>
        <p:sp>
          <p:nvSpPr>
            <p:cNvPr id="51" name="Trapezoid 3"/>
            <p:cNvSpPr/>
            <p:nvPr/>
          </p:nvSpPr>
          <p:spPr>
            <a:xfrm>
              <a:off x="10486659" y="2319606"/>
              <a:ext cx="169700" cy="314706"/>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solidFill>
                  <a:schemeClr val="tx1"/>
                </a:solidFill>
              </a:endParaRPr>
            </a:p>
          </p:txBody>
        </p:sp>
      </p:grpSp>
      <p:sp>
        <p:nvSpPr>
          <p:cNvPr id="53" name="Isosceles Triangle 52"/>
          <p:cNvSpPr/>
          <p:nvPr/>
        </p:nvSpPr>
        <p:spPr>
          <a:xfrm rot="5400000">
            <a:off x="7005414" y="4973612"/>
            <a:ext cx="396749" cy="156227"/>
          </a:xfrm>
          <a:prstGeom prst="triangle">
            <a:avLst/>
          </a:prstGeom>
          <a:solidFill>
            <a:schemeClr val="accent5"/>
          </a:solidFill>
        </p:spPr>
        <p:txBody>
          <a:bodyPr vert="horz" lIns="137160" tIns="91440" rIns="91440" bIns="91440" rtlCol="0" anchor="t" anchorCtr="0">
            <a:noAutofit/>
          </a:bodyPr>
          <a:lstStyle/>
          <a:p>
            <a:pPr algn="ctr"/>
            <a:endParaRPr lang="en-US" sz="900" dirty="0">
              <a:cs typeface="Segoe UI Light"/>
            </a:endParaRPr>
          </a:p>
        </p:txBody>
      </p:sp>
      <p:grpSp>
        <p:nvGrpSpPr>
          <p:cNvPr id="56" name="Group 55"/>
          <p:cNvGrpSpPr/>
          <p:nvPr/>
        </p:nvGrpSpPr>
        <p:grpSpPr>
          <a:xfrm>
            <a:off x="796085" y="4071846"/>
            <a:ext cx="989544" cy="755992"/>
            <a:chOff x="1073344" y="1874136"/>
            <a:chExt cx="996633" cy="761408"/>
          </a:xfrm>
        </p:grpSpPr>
        <p:sp>
          <p:nvSpPr>
            <p:cNvPr id="57" name="Rounded Rectangle 60"/>
            <p:cNvSpPr>
              <a:spLocks noChangeArrowheads="1"/>
            </p:cNvSpPr>
            <p:nvPr/>
          </p:nvSpPr>
          <p:spPr bwMode="auto">
            <a:xfrm>
              <a:off x="1073344" y="1874136"/>
              <a:ext cx="996633" cy="761408"/>
            </a:xfrm>
            <a:prstGeom prst="ellipse">
              <a:avLst/>
            </a:prstGeom>
            <a:solidFill>
              <a:schemeClr val="bg1">
                <a:lumMod val="85000"/>
                <a:alpha val="30196"/>
              </a:schemeClr>
            </a:solidFill>
            <a:ln w="3175">
              <a:noFill/>
              <a:prstDash val="lgDashDot"/>
            </a:ln>
          </p:spPr>
          <p:style>
            <a:lnRef idx="2">
              <a:schemeClr val="accent1">
                <a:shade val="50000"/>
              </a:schemeClr>
            </a:lnRef>
            <a:fillRef idx="1">
              <a:schemeClr val="accent1"/>
            </a:fillRef>
            <a:effectRef idx="0">
              <a:schemeClr val="accent1"/>
            </a:effectRef>
            <a:fontRef idx="minor">
              <a:schemeClr val="lt1"/>
            </a:fontRef>
          </p:style>
          <p:txBody>
            <a:bodyPr lIns="137160" anchor="ctr"/>
            <a:lstStyle/>
            <a:p>
              <a:pPr marL="88900" indent="-88900" defTabSz="914241" fontAlgn="t">
                <a:defRPr/>
              </a:pPr>
              <a:endParaRPr lang="en-US" sz="1100" dirty="0">
                <a:solidFill>
                  <a:schemeClr val="tx1"/>
                </a:solidFill>
              </a:endParaRPr>
            </a:p>
          </p:txBody>
        </p:sp>
        <p:pic>
          <p:nvPicPr>
            <p:cNvPr id="58" name="Picture 57"/>
            <p:cNvPicPr>
              <a:picLocks noChangeAspect="1"/>
            </p:cNvPicPr>
            <p:nvPr/>
          </p:nvPicPr>
          <p:blipFill>
            <a:blip r:embed="rId10" cstate="screen">
              <a:duotone>
                <a:prstClr val="black"/>
                <a:schemeClr val="accent5">
                  <a:tint val="45000"/>
                  <a:satMod val="400000"/>
                </a:schemeClr>
              </a:duotone>
              <a:lum bright="-20000" contrast="-20000"/>
              <a:extLst>
                <a:ext uri="{28A0092B-C50C-407E-A947-70E740481C1C}">
                  <a14:useLocalDpi xmlns:a14="http://schemas.microsoft.com/office/drawing/2010/main"/>
                </a:ext>
              </a:extLst>
            </a:blip>
            <a:stretch>
              <a:fillRect/>
            </a:stretch>
          </p:blipFill>
          <p:spPr bwMode="auto">
            <a:xfrm>
              <a:off x="1772534" y="2255216"/>
              <a:ext cx="296579" cy="264713"/>
            </a:xfrm>
            <a:prstGeom prst="rect">
              <a:avLst/>
            </a:prstGeom>
          </p:spPr>
        </p:pic>
        <p:sp>
          <p:nvSpPr>
            <p:cNvPr id="59" name="Freeform 14"/>
            <p:cNvSpPr>
              <a:spLocks noEditPoints="1"/>
            </p:cNvSpPr>
            <p:nvPr/>
          </p:nvSpPr>
          <p:spPr bwMode="black">
            <a:xfrm>
              <a:off x="1709529" y="1961213"/>
              <a:ext cx="147641" cy="157162"/>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dirty="0">
                <a:latin typeface="Segoe Light" pitchFamily="34" charset="0"/>
              </a:endParaRPr>
            </a:p>
          </p:txBody>
        </p:sp>
        <p:pic>
          <p:nvPicPr>
            <p:cNvPr id="60" name="Picture 59"/>
            <p:cNvPicPr>
              <a:picLocks noChangeAspect="1"/>
            </p:cNvPicPr>
            <p:nvPr/>
          </p:nvPicPr>
          <p:blipFill>
            <a:blip r:embed="rId11" cstate="screen">
              <a:duotone>
                <a:prstClr val="black"/>
                <a:schemeClr val="accent5">
                  <a:tint val="45000"/>
                  <a:satMod val="400000"/>
                </a:schemeClr>
              </a:duotone>
              <a:extLst>
                <a:ext uri="{BEBA8EAE-BF5A-486C-A8C5-ECC9F3942E4B}">
                  <a14:imgProps xmlns:a14="http://schemas.microsoft.com/office/drawing/2010/main">
                    <a14:imgLayer r:embed="rId12">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1886082" y="2101123"/>
              <a:ext cx="124258" cy="142717"/>
            </a:xfrm>
            <a:prstGeom prst="rect">
              <a:avLst/>
            </a:prstGeom>
          </p:spPr>
        </p:pic>
        <p:sp>
          <p:nvSpPr>
            <p:cNvPr id="61" name="Freeform 13"/>
            <p:cNvSpPr>
              <a:spLocks noEditPoints="1"/>
            </p:cNvSpPr>
            <p:nvPr/>
          </p:nvSpPr>
          <p:spPr bwMode="black">
            <a:xfrm>
              <a:off x="1092015" y="2186267"/>
              <a:ext cx="215905" cy="184149"/>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dirty="0">
                <a:latin typeface="Segoe Light" pitchFamily="34" charset="0"/>
              </a:endParaRPr>
            </a:p>
          </p:txBody>
        </p:sp>
        <p:sp>
          <p:nvSpPr>
            <p:cNvPr id="62" name="Freeform 175"/>
            <p:cNvSpPr>
              <a:spLocks/>
            </p:cNvSpPr>
            <p:nvPr/>
          </p:nvSpPr>
          <p:spPr bwMode="black">
            <a:xfrm>
              <a:off x="1248260" y="2005656"/>
              <a:ext cx="157165" cy="157162"/>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63" name="Freeform 176"/>
            <p:cNvSpPr>
              <a:spLocks/>
            </p:cNvSpPr>
            <p:nvPr/>
          </p:nvSpPr>
          <p:spPr bwMode="black">
            <a:xfrm>
              <a:off x="1470108" y="2446109"/>
              <a:ext cx="153991" cy="153986"/>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64" name="Trapezoid 86"/>
            <p:cNvSpPr/>
            <p:nvPr/>
          </p:nvSpPr>
          <p:spPr>
            <a:xfrm rot="16200000">
              <a:off x="1487527" y="1895084"/>
              <a:ext cx="169510" cy="177140"/>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65" name="Freeform 178"/>
            <p:cNvSpPr/>
            <p:nvPr/>
          </p:nvSpPr>
          <p:spPr>
            <a:xfrm>
              <a:off x="1492918" y="2178485"/>
              <a:ext cx="157484" cy="152710"/>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a:solidFill>
                  <a:schemeClr val="tx1"/>
                </a:solidFill>
                <a:latin typeface="Segoe UI" pitchFamily="34" charset="0"/>
                <a:ea typeface="Segoe UI" pitchFamily="34" charset="0"/>
                <a:cs typeface="Segoe UI" pitchFamily="34" charset="0"/>
              </a:endParaRPr>
            </a:p>
          </p:txBody>
        </p:sp>
        <p:sp>
          <p:nvSpPr>
            <p:cNvPr id="66" name="Freeform 179"/>
            <p:cNvSpPr>
              <a:spLocks/>
            </p:cNvSpPr>
            <p:nvPr/>
          </p:nvSpPr>
          <p:spPr bwMode="auto">
            <a:xfrm>
              <a:off x="1673997" y="2433337"/>
              <a:ext cx="141378" cy="137129"/>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nvGrpSpPr>
            <p:cNvPr id="67" name="Group 66"/>
            <p:cNvGrpSpPr/>
            <p:nvPr/>
          </p:nvGrpSpPr>
          <p:grpSpPr>
            <a:xfrm>
              <a:off x="1224341" y="2393865"/>
              <a:ext cx="181084" cy="156444"/>
              <a:chOff x="896533" y="785004"/>
              <a:chExt cx="684622" cy="591473"/>
            </a:xfrm>
            <a:solidFill>
              <a:schemeClr val="bg1">
                <a:lumMod val="50000"/>
              </a:schemeClr>
            </a:solidFill>
          </p:grpSpPr>
          <p:sp>
            <p:nvSpPr>
              <p:cNvPr id="68" name="Oval 67"/>
              <p:cNvSpPr>
                <a:spLocks noChangeArrowheads="1"/>
              </p:cNvSpPr>
              <p:nvPr/>
            </p:nvSpPr>
            <p:spPr bwMode="auto">
              <a:xfrm>
                <a:off x="1135915" y="785004"/>
                <a:ext cx="218444" cy="218810"/>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69" name="Freeform 182"/>
              <p:cNvSpPr>
                <a:spLocks/>
              </p:cNvSpPr>
              <p:nvPr/>
            </p:nvSpPr>
            <p:spPr bwMode="auto">
              <a:xfrm>
                <a:off x="1046649" y="1029576"/>
                <a:ext cx="390806" cy="346901"/>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nvGrpSpPr>
              <p:cNvPr id="70" name="Group 69"/>
              <p:cNvGrpSpPr/>
              <p:nvPr/>
            </p:nvGrpSpPr>
            <p:grpSpPr>
              <a:xfrm>
                <a:off x="896533" y="873212"/>
                <a:ext cx="201231" cy="369680"/>
                <a:chOff x="851065" y="755975"/>
                <a:chExt cx="287391" cy="527971"/>
              </a:xfrm>
              <a:grpFill/>
            </p:grpSpPr>
            <p:sp>
              <p:nvSpPr>
                <p:cNvPr id="74" name="Oval 73"/>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75" name="Freeform 188"/>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nvGrpSpPr>
              <p:cNvPr id="71" name="Group 70"/>
              <p:cNvGrpSpPr/>
              <p:nvPr/>
            </p:nvGrpSpPr>
            <p:grpSpPr>
              <a:xfrm flipH="1">
                <a:off x="1379924" y="873212"/>
                <a:ext cx="201231" cy="369680"/>
                <a:chOff x="851065" y="755975"/>
                <a:chExt cx="287391" cy="527971"/>
              </a:xfrm>
              <a:grpFill/>
            </p:grpSpPr>
            <p:sp>
              <p:nvSpPr>
                <p:cNvPr id="72" name="Oval 71"/>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73" name="Freeform 186"/>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grpSp>
      <p:grpSp>
        <p:nvGrpSpPr>
          <p:cNvPr id="76" name="Group 75"/>
          <p:cNvGrpSpPr/>
          <p:nvPr/>
        </p:nvGrpSpPr>
        <p:grpSpPr>
          <a:xfrm flipH="1">
            <a:off x="2195324" y="4400871"/>
            <a:ext cx="345523" cy="327898"/>
            <a:chOff x="5326857" y="2779521"/>
            <a:chExt cx="2283619" cy="2167129"/>
          </a:xfrm>
          <a:solidFill>
            <a:schemeClr val="bg1">
              <a:lumMod val="50000"/>
            </a:schemeClr>
          </a:solidFill>
        </p:grpSpPr>
        <p:sp>
          <p:nvSpPr>
            <p:cNvPr id="77" name="Freeform 190"/>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78"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79"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80" name="Oval 79"/>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81"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grpSp>
      <p:grpSp>
        <p:nvGrpSpPr>
          <p:cNvPr id="133" name="Group 132"/>
          <p:cNvGrpSpPr/>
          <p:nvPr/>
        </p:nvGrpSpPr>
        <p:grpSpPr>
          <a:xfrm>
            <a:off x="9269829" y="4653871"/>
            <a:ext cx="321697" cy="307752"/>
            <a:chOff x="9531915" y="2925488"/>
            <a:chExt cx="321697" cy="307752"/>
          </a:xfrm>
        </p:grpSpPr>
        <p:grpSp>
          <p:nvGrpSpPr>
            <p:cNvPr id="134" name="Group 133"/>
            <p:cNvGrpSpPr/>
            <p:nvPr/>
          </p:nvGrpSpPr>
          <p:grpSpPr>
            <a:xfrm>
              <a:off x="9531915" y="2925488"/>
              <a:ext cx="321697" cy="307752"/>
              <a:chOff x="9213056" y="2830838"/>
              <a:chExt cx="392885" cy="393322"/>
            </a:xfrm>
            <a:solidFill>
              <a:srgbClr val="7F7F7F"/>
            </a:solidFill>
          </p:grpSpPr>
          <p:sp>
            <p:nvSpPr>
              <p:cNvPr id="136" name="Rectangle 135"/>
              <p:cNvSpPr/>
              <p:nvPr/>
            </p:nvSpPr>
            <p:spPr>
              <a:xfrm>
                <a:off x="9213056" y="2830838"/>
                <a:ext cx="45719" cy="3928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37" name="Rectangle 136"/>
              <p:cNvSpPr/>
              <p:nvPr/>
            </p:nvSpPr>
            <p:spPr>
              <a:xfrm rot="16200000">
                <a:off x="9386639" y="3004858"/>
                <a:ext cx="45719" cy="3928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sp>
          <p:nvSpPr>
            <p:cNvPr id="135" name="Freeform 198"/>
            <p:cNvSpPr/>
            <p:nvPr/>
          </p:nvSpPr>
          <p:spPr>
            <a:xfrm>
              <a:off x="9594056" y="2928938"/>
              <a:ext cx="240507" cy="228600"/>
            </a:xfrm>
            <a:custGeom>
              <a:avLst/>
              <a:gdLst>
                <a:gd name="connsiteX0" fmla="*/ 0 w 240507"/>
                <a:gd name="connsiteY0" fmla="*/ 219075 h 228600"/>
                <a:gd name="connsiteX1" fmla="*/ 52388 w 240507"/>
                <a:gd name="connsiteY1" fmla="*/ 166687 h 228600"/>
                <a:gd name="connsiteX2" fmla="*/ 88107 w 240507"/>
                <a:gd name="connsiteY2" fmla="*/ 228600 h 228600"/>
                <a:gd name="connsiteX3" fmla="*/ 114300 w 240507"/>
                <a:gd name="connsiteY3" fmla="*/ 97631 h 228600"/>
                <a:gd name="connsiteX4" fmla="*/ 171450 w 240507"/>
                <a:gd name="connsiteY4" fmla="*/ 104775 h 228600"/>
                <a:gd name="connsiteX5" fmla="*/ 240507 w 240507"/>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07" h="228600">
                  <a:moveTo>
                    <a:pt x="0" y="219075"/>
                  </a:moveTo>
                  <a:lnTo>
                    <a:pt x="52388" y="166687"/>
                  </a:lnTo>
                  <a:lnTo>
                    <a:pt x="88107" y="228600"/>
                  </a:lnTo>
                  <a:lnTo>
                    <a:pt x="114300" y="97631"/>
                  </a:lnTo>
                  <a:lnTo>
                    <a:pt x="171450" y="104775"/>
                  </a:lnTo>
                  <a:lnTo>
                    <a:pt x="240507" y="0"/>
                  </a:lnTo>
                </a:path>
              </a:pathLst>
            </a:custGeom>
            <a:noFill/>
            <a:ln>
              <a:solidFill>
                <a:srgbClr val="7F7F7F"/>
              </a:solidFill>
              <a:headEnd w="lg" len="med"/>
              <a:tailEnd type="triangl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8" name="Picture 137"/>
          <p:cNvPicPr>
            <a:picLocks noChangeAspect="1"/>
          </p:cNvPicPr>
          <p:nvPr/>
        </p:nvPicPr>
        <p:blipFill>
          <a:blip r:embed="rId13"/>
          <a:stretch>
            <a:fillRect/>
          </a:stretch>
        </p:blipFill>
        <p:spPr>
          <a:xfrm>
            <a:off x="1017533" y="5276981"/>
            <a:ext cx="503767" cy="519675"/>
          </a:xfrm>
          <a:prstGeom prst="rect">
            <a:avLst/>
          </a:prstGeom>
        </p:spPr>
      </p:pic>
      <p:sp>
        <p:nvSpPr>
          <p:cNvPr id="143" name="Text Box 4"/>
          <p:cNvSpPr txBox="1">
            <a:spLocks noChangeArrowheads="1"/>
          </p:cNvSpPr>
          <p:nvPr/>
        </p:nvSpPr>
        <p:spPr bwMode="gray">
          <a:xfrm>
            <a:off x="303212" y="1645827"/>
            <a:ext cx="2944876"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The Azure </a:t>
            </a:r>
            <a:r>
              <a:rPr lang="en-GB" sz="1050" dirty="0" err="1">
                <a:ln>
                  <a:noFill/>
                </a:ln>
                <a:solidFill>
                  <a:schemeClr val="tx1"/>
                </a:solidFill>
              </a:rPr>
              <a:t>HiPo</a:t>
            </a:r>
            <a:r>
              <a:rPr lang="en-GB" sz="1050" dirty="0">
                <a:ln>
                  <a:noFill/>
                </a:ln>
                <a:solidFill>
                  <a:schemeClr val="tx1"/>
                </a:solidFill>
              </a:rPr>
              <a:t> Solution Blueprint </a:t>
            </a:r>
            <a:r>
              <a:rPr lang="en-GB" sz="1050" dirty="0" err="1">
                <a:ln>
                  <a:noFill/>
                </a:ln>
                <a:solidFill>
                  <a:schemeClr val="tx1"/>
                </a:solidFill>
              </a:rPr>
              <a:t>catalog</a:t>
            </a:r>
            <a:r>
              <a:rPr lang="en-GB" sz="1050" dirty="0">
                <a:ln>
                  <a:noFill/>
                </a:ln>
                <a:solidFill>
                  <a:schemeClr val="tx1"/>
                </a:solidFill>
              </a:rPr>
              <a:t> is made up of an always-changing, evolving Bill of Materials maintained by DSAs</a:t>
            </a:r>
          </a:p>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The associated </a:t>
            </a:r>
            <a:r>
              <a:rPr lang="en-GB" sz="1050" dirty="0" err="1">
                <a:ln>
                  <a:noFill/>
                </a:ln>
                <a:solidFill>
                  <a:schemeClr val="tx1"/>
                </a:solidFill>
              </a:rPr>
              <a:t>artifacts</a:t>
            </a:r>
            <a:r>
              <a:rPr lang="en-GB" sz="1050" dirty="0">
                <a:ln>
                  <a:noFill/>
                </a:ln>
                <a:solidFill>
                  <a:schemeClr val="tx1"/>
                </a:solidFill>
              </a:rPr>
              <a:t> include BDM sales material, TDM deep-dives, customer success stories, project plans, ROI results, and sample ARM assets for implementation</a:t>
            </a:r>
          </a:p>
        </p:txBody>
      </p:sp>
      <p:sp>
        <p:nvSpPr>
          <p:cNvPr id="144" name="Text Box 4"/>
          <p:cNvSpPr txBox="1">
            <a:spLocks noChangeArrowheads="1"/>
          </p:cNvSpPr>
          <p:nvPr/>
        </p:nvSpPr>
        <p:spPr bwMode="gray">
          <a:xfrm>
            <a:off x="3309314" y="1645827"/>
            <a:ext cx="2759364"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Sales Material is maintained that can be used to deliver high-level value propositions for the </a:t>
            </a:r>
            <a:r>
              <a:rPr lang="en-GB" sz="1050" dirty="0" err="1">
                <a:ln>
                  <a:noFill/>
                </a:ln>
                <a:solidFill>
                  <a:schemeClr val="tx1"/>
                </a:solidFill>
              </a:rPr>
              <a:t>HiPo</a:t>
            </a:r>
            <a:r>
              <a:rPr lang="en-GB" sz="1050" dirty="0">
                <a:ln>
                  <a:noFill/>
                </a:ln>
                <a:solidFill>
                  <a:schemeClr val="tx1"/>
                </a:solidFill>
              </a:rPr>
              <a:t> Blueprint Solution </a:t>
            </a:r>
            <a:r>
              <a:rPr lang="en-GB" sz="1050" dirty="0" err="1">
                <a:ln>
                  <a:noFill/>
                </a:ln>
                <a:solidFill>
                  <a:schemeClr val="tx1"/>
                </a:solidFill>
              </a:rPr>
              <a:t>catalog</a:t>
            </a:r>
            <a:r>
              <a:rPr lang="en-GB" sz="1050" dirty="0">
                <a:ln>
                  <a:noFill/>
                </a:ln>
                <a:solidFill>
                  <a:schemeClr val="tx1"/>
                </a:solidFill>
              </a:rPr>
              <a:t>, DSA engagement value prop as well as business impact evidence</a:t>
            </a:r>
          </a:p>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Intent is to sell high to key customer business stakeholders</a:t>
            </a:r>
          </a:p>
        </p:txBody>
      </p:sp>
      <p:sp>
        <p:nvSpPr>
          <p:cNvPr id="145" name="Text Box 4"/>
          <p:cNvSpPr txBox="1">
            <a:spLocks noChangeArrowheads="1"/>
          </p:cNvSpPr>
          <p:nvPr/>
        </p:nvSpPr>
        <p:spPr bwMode="gray">
          <a:xfrm>
            <a:off x="6129905" y="1645827"/>
            <a:ext cx="2749603"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A GitHub repository is maintained for the </a:t>
            </a:r>
            <a:r>
              <a:rPr lang="en-GB" sz="1050" dirty="0" err="1">
                <a:ln>
                  <a:noFill/>
                </a:ln>
                <a:solidFill>
                  <a:schemeClr val="tx1"/>
                </a:solidFill>
              </a:rPr>
              <a:t>HiPo</a:t>
            </a:r>
            <a:r>
              <a:rPr lang="en-GB" sz="1050" dirty="0">
                <a:ln>
                  <a:noFill/>
                </a:ln>
                <a:solidFill>
                  <a:schemeClr val="tx1"/>
                </a:solidFill>
              </a:rPr>
              <a:t> DSA Solution Blueprint </a:t>
            </a:r>
            <a:r>
              <a:rPr lang="en-GB" sz="1050" dirty="0" err="1">
                <a:ln>
                  <a:noFill/>
                </a:ln>
                <a:solidFill>
                  <a:schemeClr val="tx1"/>
                </a:solidFill>
              </a:rPr>
              <a:t>Catalog</a:t>
            </a:r>
            <a:endParaRPr lang="en-GB" sz="1050" dirty="0">
              <a:ln>
                <a:noFill/>
              </a:ln>
              <a:solidFill>
                <a:schemeClr val="tx1"/>
              </a:solidFill>
            </a:endParaRPr>
          </a:p>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In each solution folder, DSAs will have access to sample data, code and other associated assets that can be leveraged to build a successful small-scale customer POC</a:t>
            </a:r>
          </a:p>
        </p:txBody>
      </p:sp>
      <p:sp>
        <p:nvSpPr>
          <p:cNvPr id="146" name="Text Box 4"/>
          <p:cNvSpPr txBox="1">
            <a:spLocks noChangeArrowheads="1"/>
          </p:cNvSpPr>
          <p:nvPr/>
        </p:nvSpPr>
        <p:spPr bwMode="gray">
          <a:xfrm>
            <a:off x="8940733" y="1645827"/>
            <a:ext cx="2944876"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GB" sz="1050" dirty="0">
                <a:ln>
                  <a:noFill/>
                </a:ln>
                <a:solidFill>
                  <a:schemeClr val="tx1"/>
                </a:solidFill>
              </a:rPr>
              <a:t>Project Plan outlines and recommended partners are included in the Solution Blueprints for the final delivery phase of the project to ensure customer success and implementation of the solution into the customer’s production environment</a:t>
            </a:r>
          </a:p>
        </p:txBody>
      </p:sp>
      <p:sp>
        <p:nvSpPr>
          <p:cNvPr id="147" name="Rectangle 146"/>
          <p:cNvSpPr/>
          <p:nvPr/>
        </p:nvSpPr>
        <p:spPr>
          <a:xfrm>
            <a:off x="305731" y="3444138"/>
            <a:ext cx="11582400" cy="27699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dirty="0">
                <a:solidFill>
                  <a:schemeClr val="bg1"/>
                </a:solidFill>
                <a:latin typeface="Segoe UI Semibold" panose="020B0702040204020203" pitchFamily="34" charset="0"/>
                <a:cs typeface="Segoe UI Semibold" panose="020B0702040204020203" pitchFamily="34" charset="0"/>
              </a:rPr>
              <a:t>The </a:t>
            </a:r>
            <a:r>
              <a:rPr lang="en-US" sz="1200" dirty="0" err="1">
                <a:solidFill>
                  <a:schemeClr val="bg1"/>
                </a:solidFill>
                <a:latin typeface="Segoe UI Semibold" panose="020B0702040204020203" pitchFamily="34" charset="0"/>
                <a:cs typeface="Segoe UI Semibold" panose="020B0702040204020203" pitchFamily="34" charset="0"/>
              </a:rPr>
              <a:t>HiPo</a:t>
            </a:r>
            <a:r>
              <a:rPr lang="en-US" sz="1200" dirty="0">
                <a:solidFill>
                  <a:schemeClr val="bg1"/>
                </a:solidFill>
                <a:latin typeface="Segoe UI Semibold" panose="020B0702040204020203" pitchFamily="34" charset="0"/>
                <a:cs typeface="Segoe UI Semibold" panose="020B0702040204020203" pitchFamily="34" charset="0"/>
              </a:rPr>
              <a:t> Solution Blueprint DSA process</a:t>
            </a:r>
          </a:p>
        </p:txBody>
      </p:sp>
    </p:spTree>
    <p:extLst>
      <p:ext uri="{BB962C8B-B14F-4D97-AF65-F5344CB8AC3E}">
        <p14:creationId xmlns:p14="http://schemas.microsoft.com/office/powerpoint/2010/main" val="251152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e385fb40-52d4-4fae-9c5b-3e8ff8a5878e" ContentTypeId="0x01010079CA57CA2DAD654DAB031774EE674658" PreviousValue="false"/>
</file>

<file path=customXml/item3.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e Marketing Book of Dreams is set of scenarios for driving digital business transformation of marketing, including digital marketing and customer experience, marketing productivity, and marketing insights.</DocumentDescription>
    <_ip_UnifiedCompliancePolicyUIAction xmlns="http://schemas.microsoft.com/sharepoint/v3" xsi:nil="true"/>
    <SMEComments xmlns="2c369b2b-3f94-46ec-90e1-485ed2885eab" xsi:nil="true"/>
    <servicespriorityarea xmlns="230e9df3-be65-4c73-a93b-d1236ebd677e">
      <Value>Enterprise Strategy</Value>
    </servicespriorityarea>
    <g6775e77a6d84637a29014d883a4378a xmlns="230e9df3-be65-4c73-a93b-d1236ebd677e">
      <Terms xmlns="http://schemas.microsoft.com/office/infopath/2007/PartnerControls"/>
    </g6775e77a6d84637a29014d883a4378a>
    <campusactivity xmlns="230e9df3-be65-4c73-a93b-d1236ebd677e">
      <Value>Delivery</Value>
    </campusactivity>
    <MSProductsTaxHTField0 xmlns="230e9df3-be65-4c73-a93b-d1236ebd677e">
      <Terms xmlns="http://schemas.microsoft.com/office/infopath/2007/PartnerControl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ommunications and media sector</TermName>
          <TermId xmlns="http://schemas.microsoft.com/office/infopath/2007/PartnerControls">9945cb60-29d5-4029-a25a-926881104e39</TermId>
        </TermInfo>
        <TermInfo xmlns="http://schemas.microsoft.com/office/infopath/2007/PartnerControls">
          <TermName xmlns="http://schemas.microsoft.com/office/infopath/2007/PartnerControls">financial services sector</TermName>
          <TermId xmlns="http://schemas.microsoft.com/office/infopath/2007/PartnerControls">b538d45a-5f3b-4c47-9c69-37273fafe895</TermId>
        </TermInfo>
        <TermInfo xmlns="http://schemas.microsoft.com/office/infopath/2007/PartnerControls">
          <TermName xmlns="http://schemas.microsoft.com/office/infopath/2007/PartnerControls">manufacturing and resources sector</TermName>
          <TermId xmlns="http://schemas.microsoft.com/office/infopath/2007/PartnerControls">868ab31c-08df-4f88-9150-9f7feacdc972</TermId>
        </TermInfo>
        <TermInfo xmlns="http://schemas.microsoft.com/office/infopath/2007/PartnerControls">
          <TermName xmlns="http://schemas.microsoft.com/office/infopath/2007/PartnerControls">retail, consumer products an</TermName>
          <TermId xmlns="http://schemas.microsoft.com/office/infopath/2007/PartnerControls">9ae6ef23-8d8a-476f-aa52-b499c395f362</TermId>
        </TermInfo>
      </Terms>
    </m74a2925250f485f9486ed3f97e2a6b3>
    <oad7af80ad0f4ba99bb03b3894ab533c xmlns="230e9df3-be65-4c73-a93b-d1236ebd677e">
      <Terms xmlns="http://schemas.microsoft.com/office/infopath/2007/PartnerControls">
        <TermInfo xmlns="http://schemas.microsoft.com/office/infopath/2007/PartnerControls">
          <TermName xmlns="http://schemas.microsoft.com/office/infopath/2007/PartnerControls">scenarios</TermName>
          <TermId xmlns="http://schemas.microsoft.com/office/infopath/2007/PartnerControls">5dc5e6e5-18a4-4ff8-85dc-71a9ecf4b47b</TermId>
        </TermInfo>
      </Terms>
    </oad7af80ad0f4ba99bb03b3894ab533c>
    <SMEReviewIndicator xmlns="2c369b2b-3f94-46ec-90e1-485ed2885eab" xsi:nil="true"/>
    <_ip_UnifiedCompliancePolicyProperties xmlns="http://schemas.microsoft.com/sharepoint/v3" xsi:nil="true"/>
    <Authors xmlns="230e9df3-be65-4c73-a93b-d1236ebd677e">
      <UserInfo>
        <DisplayName>i:0#.f|membership|andyeun@microsoft.com</DisplayName>
        <AccountId>4953</AccountId>
        <AccountType/>
      </UserInfo>
      <UserInfo>
        <DisplayName>i:0#.f|membership|v-damel@microsoft.com</DisplayName>
        <AccountId>23007</AccountId>
        <AccountType/>
      </UserInfo>
      <UserInfo>
        <DisplayName>i:0#.f|membership|jmeier@microsoft.com</DisplayName>
        <AccountId>4130</AccountId>
        <AccountType/>
      </UserInfo>
      <UserInfo>
        <DisplayName>i:0#.f|membership|jmarcoux@microsoft.com</DisplayName>
        <AccountId>7396</AccountId>
        <AccountType/>
      </UserInfo>
    </Authors>
    <FrameworkVersionNumber xmlns="230e9df3-be65-4c73-a93b-d1236ebd677e" xsi:nil="true"/>
    <OfferingID xmlns="8b5b7ad0-f464-46eb-9946-fcee1f1dc400"/>
    <cb7870d3641f4a52807a63577a9c1b08 xmlns="230e9df3-be65-4c73-a93b-d1236ebd677e">
      <Terms xmlns="http://schemas.microsoft.com/office/infopath/2007/PartnerControls"/>
    </cb7870d3641f4a52807a63577a9c1b08>
    <l6f22ad676764b8284b0a38937e29122 xmlns="2c369b2b-3f94-46ec-90e1-485ed2885ea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l6f22ad676764b8284b0a38937e29122>
    <DerivedFromID xmlns="230e9df3-be65-4c73-a93b-d1236ebd677e" xsi:nil="true"/>
    <TaxCatchAll xmlns="230e9df3-be65-4c73-a93b-d1236ebd677e">
      <Value>86</Value>
      <Value>947</Value>
      <Value>673</Value>
      <Value>667</Value>
      <Value>479</Value>
      <Value>3</Value>
      <Value>358</Value>
    </TaxCatchAll>
    <campusov xmlns="230e9df3-be65-4c73-a93b-d1236ebd677e">
      <Value>MCS</Value>
    </campusov>
    <SMEReviewCount xmlns="2c369b2b-3f94-46ec-90e1-485ed2885eab" xsi:nil="true"/>
    <af1f5bfae61e4243aac9966cb19580e1 xmlns="230e9df3-be65-4c73-a93b-d1236ebd677e">
      <Terms xmlns="http://schemas.microsoft.com/office/infopath/2007/PartnerControls">
        <TermInfo xmlns="http://schemas.microsoft.com/office/infopath/2007/PartnerControls">
          <TermName xmlns="http://schemas.microsoft.com/office/infopath/2007/PartnerControls">WW Enterprise Strategy Community</TermName>
          <TermId xmlns="http://schemas.microsoft.com/office/infopath/2007/PartnerControls">abb82a59-d8e1-44bf-b680-43fada6eee29</TermId>
        </TermInfo>
      </Terms>
    </af1f5bfae61e4243aac9966cb19580e1>
    <_dlc_DocId xmlns="230e9df3-be65-4c73-a93b-d1236ebd677e">CAMPUSIP-6-2749</_dlc_DocId>
    <_dlc_DocIdUrl xmlns="230e9df3-be65-4c73-a93b-d1236ebd677e">
      <Url>https://microsoft.sharepoint.com/teams/CampusIPLibraries/ES/_layouts/15/DocIdRedir.aspx?ID=CAMPUSIP-6-2749</Url>
      <Description>CAMPUSIP-6-2749</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Campus Managed IP - ES" ma:contentTypeID="0x01010079CA57CA2DAD654DAB031774EE67465800621D8D8E19AE324586B0E2D5814AD32C02003ECED42F18ABEC4F85527B788A517F04" ma:contentTypeVersion="63" ma:contentTypeDescription="This content type is used to define the metadata and behavior of Managed IP managed in the Enterprise Strategy group." ma:contentTypeScope="" ma:versionID="1abf41f1562bfd90736e65fec44135e0">
  <xsd:schema xmlns:xsd="http://www.w3.org/2001/XMLSchema" xmlns:xs="http://www.w3.org/2001/XMLSchema" xmlns:p="http://schemas.microsoft.com/office/2006/metadata/properties" xmlns:ns1="http://schemas.microsoft.com/sharepoint/v3" xmlns:ns2="230e9df3-be65-4c73-a93b-d1236ebd677e" xmlns:ns3="2c369b2b-3f94-46ec-90e1-485ed2885eab" xmlns:ns4="8b5b7ad0-f464-46eb-9946-fcee1f1dc400" targetNamespace="http://schemas.microsoft.com/office/2006/metadata/properties" ma:root="true" ma:fieldsID="48c0c43220e40f1de7a19802bb403415" ns1:_="" ns2:_="" ns3:_="" ns4:_="">
    <xsd:import namespace="http://schemas.microsoft.com/sharepoint/v3"/>
    <xsd:import namespace="230e9df3-be65-4c73-a93b-d1236ebd677e"/>
    <xsd:import namespace="2c369b2b-3f94-46ec-90e1-485ed2885eab"/>
    <xsd:import namespace="8b5b7ad0-f464-46eb-9946-fcee1f1dc400"/>
    <xsd:element name="properties">
      <xsd:complexType>
        <xsd:sequence>
          <xsd:element name="documentManagement">
            <xsd:complexType>
              <xsd:all>
                <xsd:element ref="ns2:DocumentDescription"/>
                <xsd:element ref="ns2:Authors"/>
                <xsd:element ref="ns2:servicespriorityarea" minOccurs="0"/>
                <xsd:element ref="ns2:campusov" minOccurs="0"/>
                <xsd:element ref="ns2:campusactivity" minOccurs="0"/>
                <xsd:element ref="ns3:SMEComments" minOccurs="0"/>
                <xsd:element ref="ns3:SMEReviewCount" minOccurs="0"/>
                <xsd:element ref="ns3:SMEReviewIndicator" minOccurs="0"/>
                <xsd:element ref="ns2:FrameworkVersionNumber" minOccurs="0"/>
                <xsd:element ref="ns4:OfferingID" minOccurs="0"/>
                <xsd:element ref="ns2:DerivedFromID" minOccurs="0"/>
                <xsd:element ref="ns2:_dlc_DocIdUrl" minOccurs="0"/>
                <xsd:element ref="ns2:_dlc_DocIdPersistId" minOccurs="0"/>
                <xsd:element ref="ns2:_dlc_DocId" minOccurs="0"/>
                <xsd:element ref="ns2:cb7870d3641f4a52807a63577a9c1b08" minOccurs="0"/>
                <xsd:element ref="ns2:af1f5bfae61e4243aac9966cb19580e1" minOccurs="0"/>
                <xsd:element ref="ns2:TaxCatchAll" minOccurs="0"/>
                <xsd:element ref="ns2:TaxCatchAllLabel" minOccurs="0"/>
                <xsd:element ref="ns2:MSProductsTaxHTField0" minOccurs="0"/>
                <xsd:element ref="ns3:l6f22ad676764b8284b0a38937e29122" minOccurs="0"/>
                <xsd:element ref="ns4:OfferingID_x003a_Title_x0020__x0028_linked_x0020_to_x0020_item_x0029_" minOccurs="0"/>
                <xsd:element ref="ns2:m74a2925250f485f9486ed3f97e2a6b3" minOccurs="0"/>
                <xsd:element ref="ns4:SharedWithDetails" minOccurs="0"/>
                <xsd:element ref="ns2:g6775e77a6d84637a29014d883a4378a" minOccurs="0"/>
                <xsd:element ref="ns2:oad7af80ad0f4ba99bb03b3894ab533c"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xsd:simpleType>
        <xsd:restriction base="dms:Note">
          <xsd:maxLength value="255"/>
        </xsd:restriction>
      </xsd:simpleType>
    </xsd:element>
    <xsd:element name="Authors" ma:index="3" ma:displayName="Authors" ma:description="The individuals who contributed to the creation of this content. Includes both primary and secondary authors." ma:list="UserInfo" ma:SharePointGroup="0" ma:internalName="Authors"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ervicespriorityarea" ma:index="7" nillable="true" ma:displayName="Services Priority Area" ma:description="Identifies the associated Services business priority area. Used by Campus." ma:internalName="servicespriorityarea" ma:readOnly="false">
      <xsd:complexType>
        <xsd:complexContent>
          <xsd:extension base="dms:MultiChoice">
            <xsd:sequence>
              <xsd:element name="Value" maxOccurs="unbounded" minOccurs="0" nillable="true">
                <xsd:simpleType>
                  <xsd:restriction base="dms:Choice">
                    <xsd:enumeration value="Application Platform"/>
                    <xsd:enumeration value="Cloud Productivity"/>
                    <xsd:enumeration value="Datacenter"/>
                    <xsd:enumeration value="Devices and Mobility"/>
                    <xsd:enumeration value="Dynamics"/>
                    <xsd:enumeration value="Enterprise Communications"/>
                    <xsd:enumeration value="Enterprise Strategy"/>
                    <xsd:enumeration value="Premier Cloud Vantage"/>
                    <xsd:enumeration value="Premier Lync"/>
                    <xsd:enumeration value="Premier Mission Critical"/>
                    <xsd:enumeration value="Premier vNext"/>
                    <xsd:enumeration value="Productivity and Enterprise Social"/>
                    <xsd:enumeration value="PSfD"/>
                    <xsd:enumeration value="PSfP"/>
                    <xsd:enumeration value="Security"/>
                  </xsd:restriction>
                </xsd:simpleType>
              </xsd:element>
            </xsd:sequence>
          </xsd:extension>
        </xsd:complexContent>
      </xsd:complexType>
    </xsd:element>
    <xsd:element name="campusov" ma:index="8" nillable="true" ma:displayName="Org (Campus Only)" ma:description="Used exclusively by the Campus KM solution. The organization, community, or program that is responsible for the life of the IP." ma:internalName="campusov">
      <xsd:complexType>
        <xsd:complexContent>
          <xsd:extension base="dms:MultiChoice">
            <xsd:sequence>
              <xsd:element name="Value" maxOccurs="unbounded" minOccurs="0" nillable="true">
                <xsd:simpleType>
                  <xsd:restriction base="dms:Choice">
                    <xsd:enumeration value="Consumer"/>
                    <xsd:enumeration value="CSS"/>
                    <xsd:enumeration value="Enterprise Services Sales"/>
                    <xsd:enumeration value="GBS - Strategy"/>
                    <xsd:enumeration value="GBSD - Commercial Shared"/>
                    <xsd:enumeration value="GBSD - Dynamics/SMS&amp;P"/>
                    <xsd:enumeration value="GBSD - MOD"/>
                    <xsd:enumeration value="GBSD - PFE"/>
                    <xsd:enumeration value="GBSD - STB"/>
                    <xsd:enumeration value="MCS"/>
                    <xsd:enumeration value="Not Organization Specific"/>
                    <xsd:enumeration value="OCTO"/>
                    <xsd:enumeration value="Premier"/>
                  </xsd:restriction>
                </xsd:simpleType>
              </xsd:element>
            </xsd:sequence>
          </xsd:extension>
        </xsd:complexContent>
      </xsd:complexType>
    </xsd:element>
    <xsd:element name="campusactivity" ma:index="9" nillable="true" ma:displayName="Campus Function" ma:description="Used exclusively by the Campus KM solution for tagging content with the Services function to which the document is applicable." ma:internalName="campusactivity">
      <xsd:complexType>
        <xsd:complexContent>
          <xsd:extension base="dms:MultiChoice">
            <xsd:sequence>
              <xsd:element name="Value" maxOccurs="unbounded" minOccurs="0" nillable="true">
                <xsd:simpleType>
                  <xsd:restriction base="dms:Choice">
                    <xsd:enumeration value="Sales"/>
                    <xsd:enumeration value="Marketing"/>
                    <xsd:enumeration value="Delivery"/>
                    <xsd:enumeration value="Support"/>
                  </xsd:restriction>
                </xsd:simpleType>
              </xsd:element>
            </xsd:sequence>
          </xsd:extension>
        </xsd:complexContent>
      </xsd:complexType>
    </xsd:element>
    <xsd:element name="FrameworkVersionNumber" ma:index="17" nillable="true" ma:displayName="Framework Version Number" ma:description="A field used by Campus KM management solution." ma:internalName="FrameworkVersionNumber" ma:percentage="FALSE">
      <xsd:simpleType>
        <xsd:restriction base="dms:Number"/>
      </xsd:simpleType>
    </xsd:element>
    <xsd:element name="DerivedFromID" ma:index="19" nillable="true" ma:displayName="Derived from ID" ma:default="Original" ma:description="Holds the Document Id if the document is derived from an existing document in Campus." ma:internalName="DerivedFromID">
      <xsd:simpleType>
        <xsd:restriction base="dms:Text">
          <xsd:maxLength value="255"/>
        </xsd:restriction>
      </xsd:simpleType>
    </xsd:element>
    <xsd:element name="_dlc_DocIdUrl" ma:index="2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2" nillable="true" ma:displayName="Persist ID" ma:description="Keep ID on add." ma:hidden="true" ma:internalName="_dlc_DocIdPersistId" ma:readOnly="true">
      <xsd:simpleType>
        <xsd:restriction base="dms:Boolean"/>
      </xsd:simpleType>
    </xsd:element>
    <xsd:element name="_dlc_DocId" ma:index="23" nillable="true" ma:displayName="Document ID Value" ma:description="The value of the document ID assigned to this item." ma:internalName="_dlc_DocId" ma:readOnly="true">
      <xsd:simpleType>
        <xsd:restriction base="dms:Text"/>
      </xsd:simpleType>
    </xsd:element>
    <xsd:element name="cb7870d3641f4a52807a63577a9c1b08" ma:index="25" nillable="true" ma:taxonomy="true" ma:internalName="cb7870d3641f4a52807a63577a9c1b08" ma:taxonomyFieldName="SalesGeography" ma:displayName="MS Sales Geography" ma:default="" ma:fieldId="{cb7870d3-641f-4a52-807a-63577a9c1b08}" ma:taxonomyMulti="true" ma:sspId="e385fb40-52d4-4fae-9c5b-3e8ff8a5878e" ma:termSetId="a5a76945-853a-477c-879c-38ff3cefc704" ma:anchorId="00000000-0000-0000-0000-000000000000" ma:open="false" ma:isKeyword="false">
      <xsd:complexType>
        <xsd:sequence>
          <xsd:element ref="pc:Terms" minOccurs="0" maxOccurs="1"/>
        </xsd:sequence>
      </xsd:complexType>
    </xsd:element>
    <xsd:element name="af1f5bfae61e4243aac9966cb19580e1" ma:index="26"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element name="TaxCatchAll" ma:index="27" nillable="true" ma:displayName="Taxonomy Catch All Column" ma:hidden="true" ma:list="{b5574508-8eb6-42b3-91d6-479e30ab603a}" ma:internalName="TaxCatchAll" ma:showField="CatchAllData"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TaxCatchAllLabel" ma:index="28" nillable="true" ma:displayName="Taxonomy Catch All Column1" ma:hidden="true" ma:list="{b5574508-8eb6-42b3-91d6-479e30ab603a}" ma:internalName="TaxCatchAllLabel" ma:readOnly="true" ma:showField="CatchAllDataLabel"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MSProductsTaxHTField0" ma:index="30" nillable="true" ma:taxonomy="true" ma:internalName="MSProductsTaxHTField0" ma:taxonomyFieldName="MSProducts" ma:displayName="MS Products" ma:readOnly="false" ma:default=""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m74a2925250f485f9486ed3f97e2a6b3" ma:index="36" nillable="true" ma:taxonomy="true" ma:internalName="m74a2925250f485f9486ed3f97e2a6b3" ma:taxonomyFieldName="VerticalIndustries" ma:displayName="Vertical Industries" ma:readOnly="false"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g6775e77a6d84637a29014d883a4378a" ma:index="38" nillable="true" ma:taxonomy="true" ma:internalName="g6775e77a6d84637a29014d883a4378a" ma:taxonomyFieldName="ServicesDomain" ma:displayName="Services Domain" ma:default="" ma:fieldId="{06775e77-a6d8-4637-a290-14d883a4378a}" ma:taxonomyMulti="true" ma:sspId="e385fb40-52d4-4fae-9c5b-3e8ff8a5878e" ma:termSetId="c1ac51a9-d111-4ee5-a69f-6022ed76fff0" ma:anchorId="00000000-0000-0000-0000-000000000000" ma:open="false" ma:isKeyword="false">
      <xsd:complexType>
        <xsd:sequence>
          <xsd:element ref="pc:Terms" minOccurs="0" maxOccurs="1"/>
        </xsd:sequence>
      </xsd:complexType>
    </xsd:element>
    <xsd:element name="oad7af80ad0f4ba99bb03b3894ab533c" ma:index="39" nillable="true" ma:taxonomy="true" ma:internalName="oad7af80ad0f4ba99bb03b3894ab533c" ma:taxonomyFieldName="ServicesIPTypes" ma:displayName="Services IP Type" ma:readOnly="fals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c369b2b-3f94-46ec-90e1-485ed2885eab" elementFormDefault="qualified">
    <xsd:import namespace="http://schemas.microsoft.com/office/2006/documentManagement/types"/>
    <xsd:import namespace="http://schemas.microsoft.com/office/infopath/2007/PartnerControls"/>
    <xsd:element name="SMEComments" ma:index="14" nillable="true" ma:displayName="SME Comments" ma:internalName="SMEComments" ma:readOnly="false">
      <xsd:simpleType>
        <xsd:restriction base="dms:Note">
          <xsd:maxLength value="255"/>
        </xsd:restriction>
      </xsd:simpleType>
    </xsd:element>
    <xsd:element name="SMEReviewCount" ma:index="15" nillable="true" ma:displayName="SME Review Count" ma:internalName="SMEReviewCount" ma:readOnly="false">
      <xsd:simpleType>
        <xsd:restriction base="dms:Number"/>
      </xsd:simpleType>
    </xsd:element>
    <xsd:element name="SMEReviewIndicator" ma:index="16" nillable="true" ma:displayName="SME Review Indicator" ma:internalName="SMEReviewIndicator" ma:readOnly="false">
      <xsd:simpleType>
        <xsd:restriction base="dms:Number"/>
      </xsd:simpleType>
    </xsd:element>
    <xsd:element name="l6f22ad676764b8284b0a38937e29122" ma:index="31" ma:taxonomy="true" ma:internalName="l6f22ad676764b8284b0a38937e29122" ma:taxonomyFieldName="MS_x0020_Language" ma:displayName="Language" ma:readOnly="false" ma:default="" ma:fieldId="{56f22ad6-7676-4b82-84b0-a38937e29122}"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b7ad0-f464-46eb-9946-fcee1f1dc400" elementFormDefault="qualified">
    <xsd:import namespace="http://schemas.microsoft.com/office/2006/documentManagement/types"/>
    <xsd:import namespace="http://schemas.microsoft.com/office/infopath/2007/PartnerControls"/>
    <xsd:element name="OfferingID" ma:index="18" nillable="true" ma:displayName="OfferingID" ma:list="{93b282fd-206f-40aa-ad9a-b5a72de7b449}" ma:internalName="OfferingID0" ma:showField="OID"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OfferingID_x003a_Title_x0020__x0028_linked_x0020_to_x0020_item_x0029_" ma:index="35" nillable="true" ma:displayName="OfferingID:Title (linked to item)" ma:list="{93b282fd-206f-40aa-ad9a-b5a72de7b449}" ma:internalName="OfferingID_x003A_Title_x0020__x0028_linked_x0020_to_x0020_item_x0029_" ma:readOnly="true" ma:showField="LinkTitleNoMenu"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SharedWithDetails" ma:index="3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4FDA79B-BA4A-4FC5-B4BB-477B2B4DF2B9}">
  <ds:schemaRefs>
    <ds:schemaRef ds:uri="http://schemas.microsoft.com/sharepoint/v3/contenttype/forms"/>
  </ds:schemaRefs>
</ds:datastoreItem>
</file>

<file path=customXml/itemProps2.xml><?xml version="1.0" encoding="utf-8"?>
<ds:datastoreItem xmlns:ds="http://schemas.openxmlformats.org/officeDocument/2006/customXml" ds:itemID="{E7EB2990-FD40-4EEE-A8A4-E4A1ED4068B0}">
  <ds:schemaRefs>
    <ds:schemaRef ds:uri="Microsoft.SharePoint.Taxonomy.ContentTypeSync"/>
  </ds:schemaRefs>
</ds:datastoreItem>
</file>

<file path=customXml/itemProps3.xml><?xml version="1.0" encoding="utf-8"?>
<ds:datastoreItem xmlns:ds="http://schemas.openxmlformats.org/officeDocument/2006/customXml" ds:itemID="{00DE4472-5A42-453F-B41F-5EA68F509F59}">
  <ds:schemaRefs>
    <ds:schemaRef ds:uri="http://purl.org/dc/elements/1.1/"/>
    <ds:schemaRef ds:uri="http://schemas.microsoft.com/office/2006/metadata/propertie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2c369b2b-3f94-46ec-90e1-485ed2885eab"/>
    <ds:schemaRef ds:uri="http://schemas.microsoft.com/office/infopath/2007/PartnerControls"/>
    <ds:schemaRef ds:uri="8b5b7ad0-f464-46eb-9946-fcee1f1dc400"/>
    <ds:schemaRef ds:uri="http://www.w3.org/XML/1998/namespace"/>
    <ds:schemaRef ds:uri="http://purl.org/dc/dcmitype/"/>
  </ds:schemaRefs>
</ds:datastoreItem>
</file>

<file path=customXml/itemProps4.xml><?xml version="1.0" encoding="utf-8"?>
<ds:datastoreItem xmlns:ds="http://schemas.openxmlformats.org/officeDocument/2006/customXml" ds:itemID="{5D520C76-AF7B-4217-A173-5A10D460F5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c369b2b-3f94-46ec-90e1-485ed2885eab"/>
    <ds:schemaRef ds:uri="8b5b7ad0-f464-46eb-9946-fcee1f1dc4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F93885A-3CB6-49D5-9139-DBE3E1687A9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43100</TotalTime>
  <Words>261</Words>
  <Application>Microsoft Office PowerPoint</Application>
  <PresentationFormat>Widescreen</PresentationFormat>
  <Paragraphs>28</Paragraphs>
  <Slides>1</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Courier New</vt:lpstr>
      <vt:lpstr>Segoe</vt:lpstr>
      <vt:lpstr>Segoe Light</vt:lpstr>
      <vt:lpstr>Segoe UI</vt:lpstr>
      <vt:lpstr>Segoe UI Light</vt:lpstr>
      <vt:lpstr>Segoe UI Semibold</vt:lpstr>
      <vt:lpstr>Wingdings</vt:lpstr>
      <vt:lpstr>FY15 Enterprise identity theme</vt:lpstr>
      <vt:lpstr>think-cell Slide</vt:lpstr>
      <vt:lpstr>Azure HiPo Solution Bluepri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Book of Dreams v1</dc:title>
  <dc:creator>v-damel@microsoft.com</dc:creator>
  <cp:lastModifiedBy>Mark Kromer</cp:lastModifiedBy>
  <cp:revision>1017</cp:revision>
  <dcterms:created xsi:type="dcterms:W3CDTF">2014-12-01T09:49:47Z</dcterms:created>
  <dcterms:modified xsi:type="dcterms:W3CDTF">2016-08-22T13:4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CA57CA2DAD654DAB031774EE67465800621D8D8E19AE324586B0E2D5814AD32C02003ECED42F18ABEC4F85527B788A517F04</vt:lpwstr>
  </property>
  <property fmtid="{D5CDD505-2E9C-101B-9397-08002B2CF9AE}" pid="3" name="bc28b5f076654a3b96073bbbebfeb8c9">
    <vt:lpwstr>English|cb91f272-ce4d-4a7e-9bbf-78b58e3d188d</vt:lpwstr>
  </property>
  <property fmtid="{D5CDD505-2E9C-101B-9397-08002B2CF9AE}" pid="4" name="TaxCatchAll">
    <vt:lpwstr>3;#English</vt:lpwstr>
  </property>
  <property fmtid="{D5CDD505-2E9C-101B-9397-08002B2CF9AE}" pid="5" name="_dlc_DocIdItemGuid">
    <vt:lpwstr>9c0b867f-7520-4d1f-83fb-ea2641597f19</vt:lpwstr>
  </property>
  <property fmtid="{D5CDD505-2E9C-101B-9397-08002B2CF9AE}" pid="6" name="ie6d2fd56e2d423f9ae5744f65e04598">
    <vt:lpwstr/>
  </property>
  <property fmtid="{D5CDD505-2E9C-101B-9397-08002B2CF9AE}" pid="7" name="ServicesDomain">
    <vt:lpwstr/>
  </property>
  <property fmtid="{D5CDD505-2E9C-101B-9397-08002B2CF9AE}" pid="8" name="VerticalIndustries">
    <vt:lpwstr>358;#communications and media sector|9945cb60-29d5-4029-a25a-926881104e39;#667;#financial services sector|b538d45a-5f3b-4c47-9c69-37273fafe895;#673;#manufacturing and resources sector|868ab31c-08df-4f88-9150-9f7feacdc972;#947;#retail, consumer products an</vt:lpwstr>
  </property>
  <property fmtid="{D5CDD505-2E9C-101B-9397-08002B2CF9AE}" pid="9" name="pd049fc9a23847ae8834a0b282b603a1">
    <vt:lpwstr/>
  </property>
  <property fmtid="{D5CDD505-2E9C-101B-9397-08002B2CF9AE}" pid="10" name="RatedBy">
    <vt:lpwstr/>
  </property>
  <property fmtid="{D5CDD505-2E9C-101B-9397-08002B2CF9AE}" pid="11" name="SalesGeography">
    <vt:lpwstr/>
  </property>
  <property fmtid="{D5CDD505-2E9C-101B-9397-08002B2CF9AE}" pid="12" name="l56d15105ae648fdac87f06e9633001e">
    <vt:lpwstr/>
  </property>
  <property fmtid="{D5CDD505-2E9C-101B-9397-08002B2CF9AE}" pid="13" name="MS Language">
    <vt:lpwstr>3;#English|cb91f272-ce4d-4a7e-9bbf-78b58e3d188d</vt:lpwstr>
  </property>
  <property fmtid="{D5CDD505-2E9C-101B-9397-08002B2CF9AE}" pid="14" name="MSProducts">
    <vt:lpwstr/>
  </property>
  <property fmtid="{D5CDD505-2E9C-101B-9397-08002B2CF9AE}" pid="15" name="Content Owner">
    <vt:lpwstr>, </vt:lpwstr>
  </property>
  <property fmtid="{D5CDD505-2E9C-101B-9397-08002B2CF9AE}" pid="16" name="EnterpriseServices">
    <vt:lpwstr/>
  </property>
  <property fmtid="{D5CDD505-2E9C-101B-9397-08002B2CF9AE}" pid="17" name="Ratings">
    <vt:lpwstr/>
  </property>
  <property fmtid="{D5CDD505-2E9C-101B-9397-08002B2CF9AE}" pid="18" name="ServicesIPTypes">
    <vt:lpwstr>86;#scenarios|5dc5e6e5-18a4-4ff8-85dc-71a9ecf4b47b</vt:lpwstr>
  </property>
  <property fmtid="{D5CDD505-2E9C-101B-9397-08002B2CF9AE}" pid="19" name="Services Marketing Audience">
    <vt:lpwstr/>
  </property>
  <property fmtid="{D5CDD505-2E9C-101B-9397-08002B2CF9AE}" pid="20" name="LikedBy">
    <vt:lpwstr/>
  </property>
  <property fmtid="{D5CDD505-2E9C-101B-9397-08002B2CF9AE}" pid="21" name="ServicesLifecycleStage">
    <vt:lpwstr/>
  </property>
  <property fmtid="{D5CDD505-2E9C-101B-9397-08002B2CF9AE}" pid="22" name="ServicesCommunities">
    <vt:lpwstr>479;#WW Enterprise Strategy Community|abb82a59-d8e1-44bf-b680-43fada6eee29</vt:lpwstr>
  </property>
  <property fmtid="{D5CDD505-2E9C-101B-9397-08002B2CF9AE}" pid="23" name="MSLanguage">
    <vt:lpwstr>3;#English|cb91f272-ce4d-4a7e-9bbf-78b58e3d188d</vt:lpwstr>
  </property>
  <property fmtid="{D5CDD505-2E9C-101B-9397-08002B2CF9AE}" pid="24" name="Services Megatrends">
    <vt:lpwstr/>
  </property>
  <property fmtid="{D5CDD505-2E9C-101B-9397-08002B2CF9AE}" pid="25" name="SharedWithUsers">
    <vt:lpwstr>34690;#Elad shwarchberg;#74954;#Shira Levy-Barkan</vt:lpwstr>
  </property>
  <property fmtid="{D5CDD505-2E9C-101B-9397-08002B2CF9AE}" pid="26" name="campustrv">
    <vt:lpwstr>;#Sales Excellence;#Solution Sales;#Architecture Delivery;#</vt:lpwstr>
  </property>
</Properties>
</file>